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ink/ink1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68" r:id="rId2"/>
    <p:sldId id="272" r:id="rId3"/>
    <p:sldId id="275" r:id="rId4"/>
    <p:sldId id="271" r:id="rId5"/>
    <p:sldId id="274" r:id="rId6"/>
    <p:sldId id="273" r:id="rId7"/>
  </p:sldIdLst>
  <p:sldSz cx="6858000" cy="9906000" type="A4"/>
  <p:notesSz cx="29818013" cy="42354500"/>
  <p:embeddedFontLst>
    <p:embeddedFont>
      <p:font typeface="Calibri" panose="020F0502020204030204" pitchFamily="34" charset="0"/>
      <p:regular r:id="rId10"/>
      <p:bold r:id="rId11"/>
      <p:italic r:id="rId12"/>
      <p:boldItalic r:id="rId13"/>
    </p:embeddedFont>
    <p:embeddedFont>
      <p:font typeface="NeulandFontEuro" panose="00000400000000000000" pitchFamily="2" charset="0"/>
      <p:regular r:id="rId14"/>
    </p:embeddedFont>
  </p:embeddedFontLst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19">
          <p15:clr>
            <a:srgbClr val="A4A3A4"/>
          </p15:clr>
        </p15:guide>
        <p15:guide id="2" orient="horz" pos="564">
          <p15:clr>
            <a:srgbClr val="A4A3A4"/>
          </p15:clr>
        </p15:guide>
        <p15:guide id="3" orient="horz" pos="1155">
          <p15:clr>
            <a:srgbClr val="A4A3A4"/>
          </p15:clr>
        </p15:guide>
        <p15:guide id="4" pos="28">
          <p15:clr>
            <a:srgbClr val="A4A3A4"/>
          </p15:clr>
        </p15:guide>
        <p15:guide id="5" pos="4292">
          <p15:clr>
            <a:srgbClr val="A4A3A4"/>
          </p15:clr>
        </p15:guide>
        <p15:guide id="6" pos="255">
          <p15:clr>
            <a:srgbClr val="A4A3A4"/>
          </p15:clr>
        </p15:guide>
        <p15:guide id="7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3342" userDrawn="1">
          <p15:clr>
            <a:srgbClr val="A4A3A4"/>
          </p15:clr>
        </p15:guide>
        <p15:guide id="2" pos="939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drea Mettenberger" initials="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preferSingleView="1">
    <p:restoredLeft sz="10867" autoAdjust="0"/>
    <p:restoredTop sz="94692" autoAdjust="0"/>
  </p:normalViewPr>
  <p:slideViewPr>
    <p:cSldViewPr showGuides="1">
      <p:cViewPr varScale="1">
        <p:scale>
          <a:sx n="78" d="100"/>
          <a:sy n="78" d="100"/>
        </p:scale>
        <p:origin x="4044" y="102"/>
      </p:cViewPr>
      <p:guideLst>
        <p:guide orient="horz" pos="3619"/>
        <p:guide orient="horz" pos="564"/>
        <p:guide orient="horz" pos="1155"/>
        <p:guide pos="28"/>
        <p:guide pos="4292"/>
        <p:guide pos="255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56" d="100"/>
          <a:sy n="56" d="100"/>
        </p:scale>
        <p:origin x="-2544" y="-96"/>
      </p:cViewPr>
      <p:guideLst>
        <p:guide orient="horz" pos="13342"/>
        <p:guide pos="939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font" Target="fonts/font4.fntdata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font" Target="fonts/font3.fntdata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2.fntdata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font" Target="fonts/font1.fntdata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font" Target="fonts/font5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2924389" cy="2120098"/>
          </a:xfrm>
          <a:prstGeom prst="rect">
            <a:avLst/>
          </a:prstGeom>
        </p:spPr>
        <p:txBody>
          <a:bodyPr vert="horz" lIns="394562" tIns="197280" rIns="394562" bIns="197280" rtlCol="0"/>
          <a:lstStyle>
            <a:lvl1pPr algn="l">
              <a:defRPr sz="5200"/>
            </a:lvl1pPr>
          </a:lstStyle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16886664" y="0"/>
            <a:ext cx="12924389" cy="2120098"/>
          </a:xfrm>
          <a:prstGeom prst="rect">
            <a:avLst/>
          </a:prstGeom>
        </p:spPr>
        <p:txBody>
          <a:bodyPr vert="horz" lIns="394562" tIns="197280" rIns="394562" bIns="197280" rtlCol="0"/>
          <a:lstStyle>
            <a:lvl1pPr algn="r">
              <a:defRPr sz="5200"/>
            </a:lvl1pPr>
          </a:lstStyle>
          <a:p>
            <a:fld id="{574C8D00-804B-ED49-893B-BC0E614417C6}" type="datetimeFigureOut">
              <a:rPr lang="de-DE" smtClean="0">
                <a:latin typeface="Arial" panose="020B0604020202020204" pitchFamily="34" charset="0"/>
              </a:rPr>
              <a:pPr/>
              <a:t>29.05.2019</a:t>
            </a:fld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40227634"/>
            <a:ext cx="12924389" cy="2120093"/>
          </a:xfrm>
          <a:prstGeom prst="rect">
            <a:avLst/>
          </a:prstGeom>
        </p:spPr>
        <p:txBody>
          <a:bodyPr vert="horz" lIns="394562" tIns="197280" rIns="394562" bIns="197280" rtlCol="0" anchor="b"/>
          <a:lstStyle>
            <a:lvl1pPr algn="l">
              <a:defRPr sz="5200"/>
            </a:lvl1pPr>
          </a:lstStyle>
          <a:p>
            <a:r>
              <a:rPr lang="de-DE">
                <a:latin typeface="Arial" panose="020B0604020202020204" pitchFamily="34" charset="0"/>
              </a:rPr>
              <a:t>PowerPoint-Flipchart-Punktraster.pptx</a:t>
            </a:r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16886664" y="40227634"/>
            <a:ext cx="12924389" cy="2120093"/>
          </a:xfrm>
          <a:prstGeom prst="rect">
            <a:avLst/>
          </a:prstGeom>
        </p:spPr>
        <p:txBody>
          <a:bodyPr vert="horz" lIns="394562" tIns="197280" rIns="394562" bIns="197280" rtlCol="0" anchor="b"/>
          <a:lstStyle>
            <a:lvl1pPr algn="r">
              <a:defRPr sz="5200"/>
            </a:lvl1pPr>
          </a:lstStyle>
          <a:p>
            <a:fld id="{D850AFBC-43EC-D246-B8E6-61BBBD79D02A}" type="slidenum">
              <a:rPr lang="de-DE" smtClean="0">
                <a:latin typeface="Arial" panose="020B0604020202020204" pitchFamily="34" charset="0"/>
              </a:rPr>
              <a:pPr/>
              <a:t>‹#›</a:t>
            </a:fld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99537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2048" units="cm"/>
          <inkml:channel name="Y" type="integer" max="1152" units="cm"/>
        </inkml:traceFormat>
        <inkml:channelProperties>
          <inkml:channelProperty channel="X" name="resolution" value="28.36565" units="1/cm"/>
          <inkml:channelProperty channel="Y" name="resolution" value="28.37438" units="1/cm"/>
        </inkml:channelProperties>
      </inkml:inkSource>
      <inkml:timestamp xml:id="ts0" timeString="2017-10-16T08:41:23.020"/>
    </inkml:context>
    <inkml:brush xml:id="br0">
      <inkml:brushProperty name="width" value="0.08819" units="cm"/>
      <inkml:brushProperty name="height" value="0.35278" units="cm"/>
      <inkml:brushProperty name="color" value="#FCCE01"/>
      <inkml:brushProperty name="tip" value="rectangle"/>
      <inkml:brushProperty name="rasterOp" value="maskPen"/>
    </inkml:brush>
  </inkml:definitions>
  <inkml:trace contextRef="#ctx0" brushRef="#br0">789 24029,'0'0,"71"0,25 0,-24-24,23 24,1 0,23 0,24-23,-47 23,47 0,-23 0,47-24,-48 24,49-48,-1 48,-48-24,96 24,-71 0,71 0,-72 0,24 0,-24 0,25 0,-1 0,-24 0,24 0,1 0,-49 0,48 0,-47 0,23 0,24 0,-47 0,71 0,-72 0,48 0,1 0,-25 0,-24 0,49 0,-49 0,24 0,1 0,-49 0,48 0,-23 0,-1 0,1 0,-1 0,1 0,-25 0,49 0,23 48,0-48,0 0,24 24,0-24,-23 24,23-24,24 0,-72 0,72 23,-72-23,72 0,-48 24,-23-24,71 0,-72 0,24 0,1 48,-25-48,24 0,-48 0,49 0,-1 0,-48 0,1 0,-1 0,1 0,-49 0,49 0,-25 0,25 0,47 0,-48 0,1 0,23 0,24 0,1 0,-25 0,72 24,-48-24,-24 0,25 0,-1 0,-24 24,-23-24,47 0,-48 0,1 0,-1 0,1 0,-25 0,24 0,1 0,-25 0,25 0,-1 24,1-24,-25 0,-23 0,47 0,-23 0,0 24,-49-24,25 0,0 0,-48 0,23 24,-23-24,-24 0,24 0,0 0,-24 0,0 0,24 0,24 0,23 0,1 0,-24 0,23 0,1 0,-48 0,48 0,-49 0,49 0,-48 0,48 0,-25 0,-23 0,24 0,-24 0,-24 0,72 0,23 0,1 0,23 0,1 0,-1 0,-23 0,-1-24,-23 24,-24 0,-25 0,1 0,-71 0,-1 0,-48 0,-23 0,-1 0,-47 0,0 24,-24-24,0 23,-24 1,24-24,-24 24,24-24,23 24,-23-24,24 0,24 0,-72 0,95 24,-47-24,24 0,-24 0,-1 0,-23 0,72 0,-72 0,24 0,47 0,1 0,-1 0,1 0,23 0,-23 0,47 0,-23 0,23 0,0 0,-23 0,-1 0,25 0,-25 0,0 0,25 0,-49 0,25 0,-1 0,25 0,-25 0,1 0,23 0,-48 0,25 0,-1 0,25 0,-49 0,1 0,23 0,-23 0,-1 0,25 0,-1 0,-23 0,-24 0,-1 0,25 0,-1 0,1 0,-48 0,47 0,1 0,-1 0,1 0,-1 0,-47 0,72 0,-25 0,1 0,-1 0,25 24,-25-24,49 0,-25 0,1 0,23 0,-24 0,25 0,23 0,-48 0,25 0,-1 0,-23 0,23 0,24 24,-47-24,23 0,0 0,-23 0,23 0,0 0,-23 0,23 0,1 0,-25 0,-23 0,47 0,-48 0,1 0,-24 0,71 0,-47 0,-1 0,25 0,-25 0,25 24,23-24,-24 0,-23 0,47 0,-23 0,-25 0,25 0,23 0,-23 0,-25 0,25 0,23 0,-24 0,-23 0,23 0,25 0,-49 0,25 0,23 0,0 0,-23 0,23 0,1 0,-1 0,0 0,24 0,-47 0,47 0,-23 0,23 0,-24 0,24 0,24 0,-47 0,23 23,0-23,-23 0,23 0,-24 0,-23 0,23 0,-24 0,1 0,-1 24,-23-24,47 0,-23 0,23 0,24 0,0 0,48 0,-24 0,24 24,-23-24,-1 0,-48 0,24 0,1 0,-25 24,0-24,24 0,-23 0,-25 0,48 24,-23-24,23 0,0 0,0 0,25 24,-1-24,0 0,72 0,23 24,96 0,48-24,0 0,120 0,-1 0,25 0,71 0,-48 0,95 0,-47 0,-47 0,47 0,-48 0,-24 0,-47 0,-49 0,-23 0,-48 0,24 0,-71 0,47 0,-24 0,0 0,-24 0,72 0,-71 0,71 0,-24 0,-24 0,24 0,-24 0,-23 24,23-24,0 0,-95 0,47 0,1 0,-1 0,24 0,-23 0,-1 0,-47 0,24 0,-1 0,-23 0,-1 0,25 23,-24-23,23 0,1 0,23 0,1 24,47-24,0 48,-24-48,25 0,23 0,-24 0,24 24,-24-24,0 24,-47-24,47 24,-24-24,25 0,-49 0,48 0,0 0,-47 24,-1-24,48 0,-23 0,23 24,-48-24,49 0,-1 0,-48 0,1 0,-1 0,1 0,-25 23,25-23,-1 0,-47 0,23 0,-23 0,0 0,23 0,-23 0,-1 0,1 0,0 0,-24 0,-1 0,-23 0,24 0,0 0,-24 0,23 0,-23 0,48 0,-48 0,71 0,-23 0,-24 0,47 0,-23 0,-48 0,48 0,-49 0,1 0,24 0,-24 0,0 0,0 0,-24 0,0 0,0-23,0-1,0 24,0-24,0 0,-24 24,-24-24,0 24,-47 0,-25 0,25-24,-25 24,-47-24,24 0,-24 24,-1 0,25 0,0-47,23 47,25 0,-1 0,1 0,-1 0,1 0,23 0,-48 0,25 0,-24 0,47-24,-71 24,71 0,-24 0,1 0,23 0,-47 0,23-24,1 24,23 0,-24 0,1 0,23 0,-47 0,23 0,1 0,47 0,-48 0,25-24,-1 24,-24 0,25 0,23 0,-24 0,25 0,-25 0,0 0,24 0,-47 0,23 0,1 0,-25 0,-23 0,-1 24,1-24,-25 24,1-24,0 24,23-24,-47 23,48-23,-1 24,-47-24,48 24,23-24,-23 24,-25-24,49 0,-72 24,47-24,1 24,-1-24,-47 24,0-24,47 48,1-48,-48 0,47 23,-47-23,48 0,-49 24,49-24,47 0,-47 24,23-24,1 0,23 24,-23-24,-1 24,0-24,-23 0,0 0,47 0,-95 24,47-24,-23 0,-24 0,0 24,-1-24,25 0,-24 0,0 24,47-24,-47 0,24 24,23-24,-23 0,23 0,49 0,-49 23,25-23,-1 0,48 0,-23 0,-1 0,24 24,-23-24,47 0,-48 0,-23 0,47 0,-24 0,-23 0,-25 24,49-24,-25 0,-23 0,23 0,24 24,-23-24,-1 0,25 0,-1 0,0 0,1 0,-1 0,0 0,25 0,-25 0,0 0,24 0,-23 24,23-24,-24 0,1 0,-1 24,0-24,1 0,23 0,-24 0,1 0,47 0,-48 0,48 0,-24 0,1 0,23 0,-24 0,24 0,-24 0,24 0,-23 0,-1 24,48-24,-48 0,24 0,0 0,0 0,24 0,-47 0,-25 0,0 0,-23 0,-25 0,25 0,23-24,-23 24,23-24,-24 24,72-24,1 24,-1 0,24 0,0-24,-24 24,0 0,24 0,0-24,-24 0,24 24,-24-47,24 23,0 24,0-48,-24 24,24 24,0-24,0 0,0 24,0 0,0 0,48 0,0 0,23-24,1 24,24-23,-25-1,25 24,23-24,1 0,-1 24,25-24,23 0,-24 24,0-48,1 48,-25 0,1 0,23 0,-71 0,47 0,-23 0,23 0,-47 0,47 0,1 0,-25 0,24 0,-23 0,0 0,-1 0,25 0,-1 0,0 0,-23 0,0 0,-1 0,1 0,-25 0,1 0,24 0,-25 0,-47 0,48 0,-1 0,-23 0,48 0,-49 0,73 0,-25 0,1 0,-24 0,47 0,48 0,1 0,-25 0,24 24,24-24,-24 0,1 0,-25 0,0 0,-23 0,-1 0,1 0,-49 0,49 0,-1 0,0 0,-23 0,23 0,1 0,-1 0,1 0,-25 0,-23 0,-24-24,-24 24,0 0,-1 0,-118 0,-96 0,0 0,-48 0,-48 24,-71 0,47-24,-47 48,47-48,1 0,47 0,-23 24,94-24,25 0,24 0,23 0,25 0,23 0,25 0,-25 0,0 0,24 0,1 0,-1 0,0 0,24 0,-47 0,23 0,24 0,-48 0,48 0,-23 0,-1 0,24 0,0 0,0 0,0 0,0 0,24 0,-47 0,-1 0,48 0,-48 0,24 0,-48 0,49 0,-25 0,0 0,24 0,-24 0,24 0,-23 0,23 0,-24 0,-24 0,49 0,-73 0,72 0,-48 0,-23 0,47 0,-47 0,23 0,24 0,-24 0,25 0,-1 0,0 0,24 0,-47 0,47 0,0 0,-24 0,48 0,-48 0,24 0,0 0,1 0,23 0,-24 0,-48 0,0 0,1 0,-1 0,-24 0,-23 0,0 0,23 0,48 0,-23 0,23 0,24 0,0 0,0 0,0-72,24 24,-24 24,1 1,-1-25,24 24,0 0,0 0,-24 0,24 0,0 24,0-24,0 1,0-1,0 24,0-24,0 0,95 0,73 24,70-24,49 24,24-24,23 24,0-47,-23 47,-1 0,1 0,-48 0,-48 0,-24 0,-72 0,1 0,-25 0,-23 0,0 0,23 0,-47 0,47 0,1 0,0 0,47 0,-24 23,1-23,47 0,-48 0,1 0,-1 0,1 0,-1 0,-23 0,23 0,-47 0,47 0,-47 0,0 0,23 0,-23 0,-1 0,25-23,0 23,47-24,0 0,0-24,72 24,24 24,-48-24,48 0,-24 0,-24 24,-71-47,47 47,-71 0,23 0,-47 0,-25-24,1 24,-24 0,0 0,0 0,0 0,0 0,0 0,-1-24,25 24,-24 0,24 0,24-24,-25 24,49 0,-1-24,-47 24,48 0,-25 0,-23-24,24 24,-48 0,24 0,-1-24,-23 24,0 0,0 0,24-24,-1 24,1 0,0 0,0 0,0 0,-1 0,-47 0,48 0,-24 0,-24 0,24 0,0 0,-24 0,24 0,23-23,-47 23,72 0,-48 0,48-24,-1 24,-47 0,48 0,-48 0,47 0,-23-24,-24 24,48 0,-48 0,23 0,1 0,-48 0,48 0,-24 0,24 0,-1 0,1 0,24 0,-24 0,47 0,1 0,23-24,-23 24,-25 0,25 0,23 0,-47 0,0 0,-1 0,-23 0,24 0,-1 0,-23 0,24 0,-24 0,23 0,1 0,-24 0,47 0,1 0,-25 0,25 0,0 0,-25 0,49 0,-25 0,1 0,-25 0,25 0,0 0,-25-24,25 24,-1 0,25 0,-49 0,25 0,23 0,-23 0,-24 0,23 0,1 0,-49 0,1 0,0 0,-24 0,0 0,0 0,0 0,-1 0,-23 0,24 0,0 0,-24 0,24 0,0 0,0 0,0 0,0 0,0 0,47 0,1 0,-24 0,47 0,-47 0,48-24,-1 24,1 0,-49 0,73 0,-49 0,1 0,0 0,-1 0,-23 0,0 0,-24 0,24 0,-1 0,-47 0,24 0,-48 0,-23 0,-25 24,-24 0,1 0,-25 24,1-25,-24 1,23 0,1 0,23-24,1 24,47-24,-24 24,25-24,23 0,0 24,0-24,24 0,-24 0,0 0,0 0,0 0,-23 0,23 0,-48 0,48 0,-24 0,-23 0,47 0,-24 0,0 0,-23 24,-1-24,24 0,-24 0,25 0,-25 0,0 0,1 0,-1 0,0 0,25 0,-25 0,0 0,25 0,-25 0,48 0,-48 0,1 0,23 0,-24 0,24 0,1 0,-25 0,24 0,-23 0,23 0,-24 0,24 0,1 0,-49 0,24 0,1 0,-25 0,1 0,47 0,-48 0,1 0,23 0,-23 0,-1 0,24 0,-23 0,23 0,0 0,1 0,-25 0,48 0,-47 0,23 0,1 0,-25 0,24 0,1 0,-1 0,-23 0,47 0,-24 0,0 0,25-24,-1 24,24 0,-48 0,25 0,-1 0,0 0,0 0,0-24,-23 24,23 0,-24 0,1 0,23 0,0-24,0 24,1 0,-25 0,48-24,-24 24,24 0,-47 0,23 0,24 0,-48 0,1-24,47 24,-24 0,0 0,-23 0,23 0,0 0,-24 0,1 0,23 0,-48 0,25-24,23 24,-48-24,25 24,23 0,-48 0,49 0,-25-23,0 23,1 0,23 0,-24 0,25 0,-1-24,-24 24,24 0,-23-24,-1 24,24 0,-47-24,23 24,0 0,1 0,-25 0,24 0,-23-24,23 24,1 0,-25-24,24 24,25 0,-25 0,0 0,48 0,-47 0,47 0,-48 0,48 0,-23 0,-25 0,24 0,-24 0,1-24,-1 24,-23 0,-1 0,-23 0,47-24,-48 24,1 0,-24 0,23 0,49 0,-49 0,1 0,23 0,25 0,-1 0,0 0,24 0,-47 0,23 0,24 0,-23 0,23 0,0 0,-47 0,23 0,48 0,-71 0,47 0,-24 0,1 0,-1 0,0 0,1 0,23 0,-24 0,24 0,-47 0,23 0,0 0,1 0,-1 0,24 0,-23 0,-1 0,24 0,0 0,25 0,-25 0,-24 0,48 0,-24 0,25 0,-1 24,0-24,-24 0,0 0,48 0,-47 0,23 0,0 0,-24 24,48-24,-48 0,24 0,0 0,-23 0,23 24,-24-24,0 0,-23 0,-1 0,48 0,-72 0,49 0,-1 0,-24 24,1-24,47 0,-24 0,24 24,-48-24,25 0,-1 0,0 24,24-24,-24 0,1 0,23 24,-24-24,24 0,0 0,-24 0,48 0,-24 0,1 23,23-23,-24 0,0 0,0 0,24 0,-24 0,0 0,24 0,-24 0,0 0,1 0,-25 0,24 0,-24 0,-24 24,49-24,-49 0,48 0,-24 24,0-24,25 0,-1 0,0 0,24 0,-24 0,0 0,24 24,-24-24,0 0,0 0,24 0,-24 0,1 0,23 0,-24 0,0 0,24 0,-24 0,0 0,0 0,24 0,0 72,0-24,0-1,0 25,0-48,0 24,0-24,24-1,-24 1,24 0,0-24,-24 24,0-24,24 24,0-24,-24 0,0 24,23-24,1 24,0-24,-24 0,24 24,0-1,-24-23,24 24,0-24,-24 0,0 24,24-24,-24 24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12921138" cy="2117725"/>
          </a:xfrm>
          <a:prstGeom prst="rect">
            <a:avLst/>
          </a:prstGeom>
        </p:spPr>
        <p:txBody>
          <a:bodyPr vert="horz" lIns="394562" tIns="197280" rIns="394562" bIns="197280" rtlCol="0"/>
          <a:lstStyle>
            <a:lvl1pPr algn="l">
              <a:defRPr sz="5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16889977" y="0"/>
            <a:ext cx="12921138" cy="2117725"/>
          </a:xfrm>
          <a:prstGeom prst="rect">
            <a:avLst/>
          </a:prstGeom>
        </p:spPr>
        <p:txBody>
          <a:bodyPr vert="horz" lIns="394562" tIns="197280" rIns="394562" bIns="197280" rtlCol="0"/>
          <a:lstStyle>
            <a:lvl1pPr algn="r">
              <a:defRPr sz="5200">
                <a:latin typeface="Arial" panose="020B0604020202020204" pitchFamily="34" charset="0"/>
              </a:defRPr>
            </a:lvl1pPr>
          </a:lstStyle>
          <a:p>
            <a:fld id="{D9146127-4512-440A-9BF4-FED203E234BA}" type="datetimeFigureOut">
              <a:rPr lang="de-DE" smtClean="0"/>
              <a:pPr/>
              <a:t>29.05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410700" y="3176588"/>
            <a:ext cx="10996613" cy="15884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394562" tIns="197280" rIns="394562" bIns="19728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2981804" y="20118390"/>
            <a:ext cx="23854410" cy="19059525"/>
          </a:xfrm>
          <a:prstGeom prst="rect">
            <a:avLst/>
          </a:prstGeom>
        </p:spPr>
        <p:txBody>
          <a:bodyPr vert="horz" lIns="394562" tIns="197280" rIns="394562" bIns="19728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40229423"/>
            <a:ext cx="12921138" cy="2117725"/>
          </a:xfrm>
          <a:prstGeom prst="rect">
            <a:avLst/>
          </a:prstGeom>
        </p:spPr>
        <p:txBody>
          <a:bodyPr vert="horz" lIns="394562" tIns="197280" rIns="394562" bIns="197280" rtlCol="0" anchor="b"/>
          <a:lstStyle>
            <a:lvl1pPr algn="l">
              <a:defRPr sz="5200">
                <a:latin typeface="Arial" panose="020B0604020202020204" pitchFamily="34" charset="0"/>
              </a:defRPr>
            </a:lvl1pPr>
          </a:lstStyle>
          <a:p>
            <a:r>
              <a:rPr lang="de-DE"/>
              <a:t>PowerPoint-Flipchart-Punktraster.pptx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16889977" y="40229423"/>
            <a:ext cx="12921138" cy="2117725"/>
          </a:xfrm>
          <a:prstGeom prst="rect">
            <a:avLst/>
          </a:prstGeom>
        </p:spPr>
        <p:txBody>
          <a:bodyPr vert="horz" lIns="394562" tIns="197280" rIns="394562" bIns="197280" rtlCol="0" anchor="b"/>
          <a:lstStyle>
            <a:lvl1pPr algn="r">
              <a:defRPr sz="5200">
                <a:latin typeface="Arial" panose="020B0604020202020204" pitchFamily="34" charset="0"/>
              </a:defRPr>
            </a:lvl1pPr>
          </a:lstStyle>
          <a:p>
            <a:fld id="{0C9634D8-3580-4515-A476-740596A73DC0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14431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634D8-3580-4515-A476-740596A73DC0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53107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634D8-3580-4515-A476-740596A73DC0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66480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634D8-3580-4515-A476-740596A73DC0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4685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634D8-3580-4515-A476-740596A73DC0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24973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634D8-3580-4515-A476-740596A73DC0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24973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634D8-3580-4515-A476-740596A73DC0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98014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jp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195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60648" y="1208584"/>
            <a:ext cx="6336704" cy="2123369"/>
          </a:xfrm>
        </p:spPr>
        <p:txBody>
          <a:bodyPr/>
          <a:lstStyle>
            <a:lvl1pPr>
              <a:defRPr sz="3600"/>
            </a:lvl1pPr>
          </a:lstStyle>
          <a:p>
            <a:r>
              <a:rPr lang="de-DE" dirty="0"/>
              <a:t>Titel des Trainings/Meeting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60648" y="4088904"/>
            <a:ext cx="6336704" cy="2531533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, Trainername, Ort, Datum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owerPoint-Flipchart-Punktraster.pptx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B8DD03-20FC-405A-94DC-BF6A1761BEAA}" type="slidenum">
              <a:rPr lang="de-DE" smtClean="0"/>
              <a:pPr/>
              <a:t>‹#›</a:t>
            </a:fld>
            <a:endParaRPr lang="de-DE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2E617B9-2F3C-4F9A-B894-CB10DD234C2C}"/>
              </a:ext>
            </a:extLst>
          </p:cNvPr>
          <p:cNvGrpSpPr/>
          <p:nvPr userDrawn="1"/>
        </p:nvGrpSpPr>
        <p:grpSpPr>
          <a:xfrm>
            <a:off x="0" y="370777"/>
            <a:ext cx="6856806" cy="18000"/>
            <a:chOff x="0" y="370777"/>
            <a:chExt cx="6856806" cy="4571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8CB413D-ED75-4779-B8C2-FA46FB326E68}"/>
                </a:ext>
              </a:extLst>
            </p:cNvPr>
            <p:cNvGrpSpPr/>
            <p:nvPr/>
          </p:nvGrpSpPr>
          <p:grpSpPr>
            <a:xfrm>
              <a:off x="923009" y="370777"/>
              <a:ext cx="5004148" cy="45719"/>
              <a:chOff x="923009" y="434427"/>
              <a:chExt cx="5004148" cy="138295"/>
            </a:xfrm>
          </p:grpSpPr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FB3E3248-D087-4800-8B8D-482026B40FBB}"/>
                  </a:ext>
                </a:extLst>
              </p:cNvPr>
              <p:cNvCxnSpPr/>
              <p:nvPr/>
            </p:nvCxnSpPr>
            <p:spPr>
              <a:xfrm flipV="1">
                <a:off x="923009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7E68542C-81AC-44D2-9B84-5FE6FAE713C1}"/>
                  </a:ext>
                </a:extLst>
              </p:cNvPr>
              <p:cNvCxnSpPr/>
              <p:nvPr/>
            </p:nvCxnSpPr>
            <p:spPr>
              <a:xfrm flipV="1">
                <a:off x="1225331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43E7A30A-E35E-42F4-B9E6-77EC607ED6BF}"/>
                  </a:ext>
                </a:extLst>
              </p:cNvPr>
              <p:cNvCxnSpPr/>
              <p:nvPr/>
            </p:nvCxnSpPr>
            <p:spPr>
              <a:xfrm flipV="1">
                <a:off x="1923975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658DE73C-E68A-4A6C-83F1-60AB538A62B0}"/>
                  </a:ext>
                </a:extLst>
              </p:cNvPr>
              <p:cNvCxnSpPr/>
              <p:nvPr/>
            </p:nvCxnSpPr>
            <p:spPr>
              <a:xfrm flipV="1">
                <a:off x="4929263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16365044-1B3E-4382-B572-84D60873D7C0}"/>
                  </a:ext>
                </a:extLst>
              </p:cNvPr>
              <p:cNvCxnSpPr/>
              <p:nvPr/>
            </p:nvCxnSpPr>
            <p:spPr>
              <a:xfrm flipV="1">
                <a:off x="5927157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38029584-9730-4ACF-87D2-76C96F120411}"/>
                  </a:ext>
                </a:extLst>
              </p:cNvPr>
              <p:cNvCxnSpPr/>
              <p:nvPr/>
            </p:nvCxnSpPr>
            <p:spPr>
              <a:xfrm flipV="1">
                <a:off x="5629651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65D4D933-29AC-4113-AAA4-496A3AB5B154}"/>
                </a:ext>
              </a:extLst>
            </p:cNvPr>
            <p:cNvCxnSpPr/>
            <p:nvPr/>
          </p:nvCxnSpPr>
          <p:spPr>
            <a:xfrm flipV="1">
              <a:off x="0" y="370777"/>
              <a:ext cx="0" cy="45719"/>
            </a:xfrm>
            <a:prstGeom prst="line">
              <a:avLst/>
            </a:prstGeom>
            <a:ln w="3175">
              <a:noFill/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F21B1F73-2B19-40AD-8FE1-899A373C0718}"/>
                </a:ext>
              </a:extLst>
            </p:cNvPr>
            <p:cNvCxnSpPr/>
            <p:nvPr userDrawn="1"/>
          </p:nvCxnSpPr>
          <p:spPr>
            <a:xfrm flipV="1">
              <a:off x="6856806" y="370777"/>
              <a:ext cx="0" cy="45719"/>
            </a:xfrm>
            <a:prstGeom prst="line">
              <a:avLst/>
            </a:prstGeom>
            <a:ln w="3175">
              <a:noFill/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pchart R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1C4FF161-250D-4D86-ADED-0B5016EA2A15}"/>
              </a:ext>
            </a:extLst>
          </p:cNvPr>
          <p:cNvGrpSpPr/>
          <p:nvPr userDrawn="1"/>
        </p:nvGrpSpPr>
        <p:grpSpPr>
          <a:xfrm>
            <a:off x="0" y="370777"/>
            <a:ext cx="6856806" cy="18000"/>
            <a:chOff x="0" y="370777"/>
            <a:chExt cx="6856806" cy="45719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0A8E678-3A87-4151-8F0D-8D6F645CFFFB}"/>
                </a:ext>
              </a:extLst>
            </p:cNvPr>
            <p:cNvGrpSpPr/>
            <p:nvPr/>
          </p:nvGrpSpPr>
          <p:grpSpPr>
            <a:xfrm>
              <a:off x="923009" y="370777"/>
              <a:ext cx="5004148" cy="45719"/>
              <a:chOff x="923009" y="434427"/>
              <a:chExt cx="5004148" cy="138295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F129C7C1-5859-46B5-9CAE-B97301E107FD}"/>
                  </a:ext>
                </a:extLst>
              </p:cNvPr>
              <p:cNvCxnSpPr/>
              <p:nvPr/>
            </p:nvCxnSpPr>
            <p:spPr>
              <a:xfrm flipV="1">
                <a:off x="923009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15222E0D-6A2D-4145-B75A-3922C8704651}"/>
                  </a:ext>
                </a:extLst>
              </p:cNvPr>
              <p:cNvCxnSpPr/>
              <p:nvPr/>
            </p:nvCxnSpPr>
            <p:spPr>
              <a:xfrm flipV="1">
                <a:off x="1225331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26C89D8B-D0A4-46C0-A107-CF61B9FED65B}"/>
                  </a:ext>
                </a:extLst>
              </p:cNvPr>
              <p:cNvCxnSpPr/>
              <p:nvPr/>
            </p:nvCxnSpPr>
            <p:spPr>
              <a:xfrm flipV="1">
                <a:off x="1923975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6FBE6F6C-D5C2-4DAF-9FCC-E1B9842024EB}"/>
                  </a:ext>
                </a:extLst>
              </p:cNvPr>
              <p:cNvCxnSpPr/>
              <p:nvPr/>
            </p:nvCxnSpPr>
            <p:spPr>
              <a:xfrm flipV="1">
                <a:off x="4929263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567D8332-60AF-4685-90FE-98FD7248FCEE}"/>
                  </a:ext>
                </a:extLst>
              </p:cNvPr>
              <p:cNvCxnSpPr/>
              <p:nvPr/>
            </p:nvCxnSpPr>
            <p:spPr>
              <a:xfrm flipV="1">
                <a:off x="5927157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2CB8F382-492D-459F-8BAE-3A57B44B7728}"/>
                  </a:ext>
                </a:extLst>
              </p:cNvPr>
              <p:cNvCxnSpPr/>
              <p:nvPr/>
            </p:nvCxnSpPr>
            <p:spPr>
              <a:xfrm flipV="1">
                <a:off x="5629651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4E127BA4-0E58-4F33-BC85-E9E2B399B4E3}"/>
                </a:ext>
              </a:extLst>
            </p:cNvPr>
            <p:cNvCxnSpPr/>
            <p:nvPr/>
          </p:nvCxnSpPr>
          <p:spPr>
            <a:xfrm flipV="1">
              <a:off x="0" y="370777"/>
              <a:ext cx="0" cy="45719"/>
            </a:xfrm>
            <a:prstGeom prst="line">
              <a:avLst/>
            </a:prstGeom>
            <a:ln w="3175">
              <a:noFill/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9A4E7C41-445A-4F5B-9A03-0B0DB67304A9}"/>
                </a:ext>
              </a:extLst>
            </p:cNvPr>
            <p:cNvCxnSpPr/>
            <p:nvPr userDrawn="1"/>
          </p:nvCxnSpPr>
          <p:spPr>
            <a:xfrm flipV="1">
              <a:off x="6856806" y="370777"/>
              <a:ext cx="0" cy="45719"/>
            </a:xfrm>
            <a:prstGeom prst="line">
              <a:avLst/>
            </a:prstGeom>
            <a:ln w="3175">
              <a:noFill/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Punktraster">
            <a:extLst>
              <a:ext uri="{FF2B5EF4-FFF2-40B4-BE49-F238E27FC236}">
                <a16:creationId xmlns:a16="http://schemas.microsoft.com/office/drawing/2014/main" id="{074E4E33-9F9E-4AA0-85DD-03D98FCB18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-1" b="-125"/>
          <a:stretch/>
        </p:blipFill>
        <p:spPr>
          <a:xfrm>
            <a:off x="0" y="12712"/>
            <a:ext cx="6858000" cy="989328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67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8641" y="2288703"/>
            <a:ext cx="6480720" cy="6684053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88640" y="687251"/>
            <a:ext cx="6480720" cy="113877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 err="1"/>
              <a:t>Titeltext</a:t>
            </a:r>
            <a:r>
              <a:rPr lang="en-US" dirty="0"/>
              <a:t> </a:t>
            </a:r>
            <a:r>
              <a:rPr lang="en-US" dirty="0" err="1"/>
              <a:t>einfügen</a:t>
            </a:r>
            <a:endParaRPr lang="de-DE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8DD03-20FC-405A-94DC-BF6A1761BEA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15674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p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8641" y="2288703"/>
            <a:ext cx="6480720" cy="668405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381328" y="9628757"/>
            <a:ext cx="408233" cy="263701"/>
          </a:xfrm>
        </p:spPr>
        <p:txBody>
          <a:bodyPr vert="horz" lIns="91440" tIns="45720" rIns="91440" bIns="45720" rtlCol="0" anchor="ctr"/>
          <a:lstStyle>
            <a:lvl1pPr>
              <a:defRPr lang="de-DE" smtClean="0"/>
            </a:lvl1pPr>
          </a:lstStyle>
          <a:p>
            <a:fld id="{C9B8DD03-20FC-405A-94DC-BF6A1761BEA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dirty="0" err="1"/>
              <a:t>Titeltext</a:t>
            </a:r>
            <a:r>
              <a:rPr lang="en-US" dirty="0"/>
              <a:t> </a:t>
            </a:r>
            <a:r>
              <a:rPr lang="en-US" dirty="0" err="1"/>
              <a:t>einfüg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8641" y="2288703"/>
            <a:ext cx="6480720" cy="668405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381328" y="9628757"/>
            <a:ext cx="408233" cy="263701"/>
          </a:xfrm>
        </p:spPr>
        <p:txBody>
          <a:bodyPr vert="horz" lIns="91440" tIns="45720" rIns="91440" bIns="45720" rtlCol="0" anchor="ctr"/>
          <a:lstStyle>
            <a:lvl1pPr>
              <a:defRPr lang="de-DE" smtClean="0"/>
            </a:lvl1pPr>
          </a:lstStyle>
          <a:p>
            <a:fld id="{C9B8DD03-20FC-405A-94DC-BF6A1761BEA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dirty="0" err="1"/>
              <a:t>Titeltext</a:t>
            </a:r>
            <a:r>
              <a:rPr lang="en-US" dirty="0"/>
              <a:t> </a:t>
            </a:r>
            <a:r>
              <a:rPr lang="en-US" dirty="0" err="1"/>
              <a:t>ein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31897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887055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88640" y="687251"/>
            <a:ext cx="6480720" cy="1138773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marL="0" lvl="0" algn="l"/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8641" y="2288703"/>
            <a:ext cx="6480720" cy="66840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16632" y="9273480"/>
            <a:ext cx="1600200" cy="2388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de-DE" sz="800" dirty="0">
                <a:solidFill>
                  <a:schemeClr val="bg1"/>
                </a:solidFill>
                <a:latin typeface="NeulandFontEuro" panose="00000400000000000000" pitchFamily="2" charset="0"/>
              </a:defRPr>
            </a:lvl1pPr>
          </a:lstStyle>
          <a:p>
            <a:pPr algn="r"/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16632" y="9653608"/>
            <a:ext cx="2171700" cy="2388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e-DE" sz="800" smtClean="0">
                <a:solidFill>
                  <a:schemeClr val="tx1">
                    <a:tint val="75000"/>
                  </a:schemeClr>
                </a:solidFill>
                <a:latin typeface="NeulandFontEuro" panose="00000400000000000000" pitchFamily="2" charset="0"/>
              </a:defRPr>
            </a:lvl1pPr>
          </a:lstStyle>
          <a:p>
            <a:r>
              <a:rPr lang="de-DE"/>
              <a:t>PowerPoint-Flipchart-Punktraster.pptx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381328" y="9628757"/>
            <a:ext cx="408233" cy="2637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  <a:latin typeface="NeulandFontEuro" panose="00000400000000000000" pitchFamily="2" charset="0"/>
              </a:defRPr>
            </a:lvl1pPr>
          </a:lstStyle>
          <a:p>
            <a:fld id="{C9B8DD03-20FC-405A-94DC-BF6A1761BEA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OT_PresentationProperties" hidden="1"/>
          <p:cNvSpPr txBox="1"/>
          <p:nvPr>
            <p:custDataLst>
              <p:tags r:id="rId8"/>
            </p:custDataLst>
          </p:nvPr>
        </p:nvSpPr>
        <p:spPr>
          <a:xfrm>
            <a:off x="0" y="0"/>
            <a:ext cx="1369286" cy="215444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800">
                <a:latin typeface="NeulandFontEuro" panose="00000400000000000000" pitchFamily="2" charset="0"/>
              </a:rPr>
              <a:t>OT_PresentationProperties</a:t>
            </a:r>
            <a:endParaRPr lang="de-DE" sz="800" dirty="0">
              <a:latin typeface="NeulandFontEuro" panose="00000400000000000000" pitchFamily="2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0FDC710-F939-4D5B-AD1D-A6115235CC06}"/>
              </a:ext>
            </a:extLst>
          </p:cNvPr>
          <p:cNvGrpSpPr/>
          <p:nvPr userDrawn="1"/>
        </p:nvGrpSpPr>
        <p:grpSpPr>
          <a:xfrm>
            <a:off x="0" y="370777"/>
            <a:ext cx="6856806" cy="18000"/>
            <a:chOff x="0" y="370777"/>
            <a:chExt cx="6856806" cy="45719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DD780D95-1FD5-45CC-BF86-93E6030118D3}"/>
                </a:ext>
              </a:extLst>
            </p:cNvPr>
            <p:cNvGrpSpPr/>
            <p:nvPr/>
          </p:nvGrpSpPr>
          <p:grpSpPr>
            <a:xfrm>
              <a:off x="923009" y="370777"/>
              <a:ext cx="5004148" cy="45719"/>
              <a:chOff x="923009" y="434427"/>
              <a:chExt cx="5004148" cy="138295"/>
            </a:xfrm>
          </p:grpSpPr>
          <p:cxnSp>
            <p:nvCxnSpPr>
              <p:cNvPr id="14" name="Straight Connector 13">
                <a:extLst>
                  <a:ext uri="{FF2B5EF4-FFF2-40B4-BE49-F238E27FC236}">
                    <a16:creationId xmlns:a16="http://schemas.microsoft.com/office/drawing/2014/main" id="{E9632880-B8E6-4C15-889D-1E095B2FA2AA}"/>
                  </a:ext>
                </a:extLst>
              </p:cNvPr>
              <p:cNvCxnSpPr/>
              <p:nvPr/>
            </p:nvCxnSpPr>
            <p:spPr>
              <a:xfrm flipV="1">
                <a:off x="923009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37A2FA0D-0CD6-4EFF-A142-46B237F87DBF}"/>
                  </a:ext>
                </a:extLst>
              </p:cNvPr>
              <p:cNvCxnSpPr/>
              <p:nvPr/>
            </p:nvCxnSpPr>
            <p:spPr>
              <a:xfrm flipV="1">
                <a:off x="1225331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C06BE97B-50B1-487C-932F-58B5AF3B3728}"/>
                  </a:ext>
                </a:extLst>
              </p:cNvPr>
              <p:cNvCxnSpPr/>
              <p:nvPr/>
            </p:nvCxnSpPr>
            <p:spPr>
              <a:xfrm flipV="1">
                <a:off x="1923975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7C6BB721-7642-4660-A938-728BD4F643A6}"/>
                  </a:ext>
                </a:extLst>
              </p:cNvPr>
              <p:cNvCxnSpPr/>
              <p:nvPr/>
            </p:nvCxnSpPr>
            <p:spPr>
              <a:xfrm flipV="1">
                <a:off x="4929263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E17C285E-6068-40F0-ACD1-862CDDA5436F}"/>
                  </a:ext>
                </a:extLst>
              </p:cNvPr>
              <p:cNvCxnSpPr/>
              <p:nvPr/>
            </p:nvCxnSpPr>
            <p:spPr>
              <a:xfrm flipV="1">
                <a:off x="5927157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2E4E86F9-4C77-4D81-8154-BC925948089B}"/>
                  </a:ext>
                </a:extLst>
              </p:cNvPr>
              <p:cNvCxnSpPr/>
              <p:nvPr/>
            </p:nvCxnSpPr>
            <p:spPr>
              <a:xfrm flipV="1">
                <a:off x="5629651" y="434427"/>
                <a:ext cx="0" cy="138295"/>
              </a:xfrm>
              <a:prstGeom prst="line">
                <a:avLst/>
              </a:prstGeom>
              <a:ln w="3175">
                <a:solidFill>
                  <a:schemeClr val="bg2"/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0D8ACFC5-1D04-4082-84E8-91B323ACC8A7}"/>
                </a:ext>
              </a:extLst>
            </p:cNvPr>
            <p:cNvCxnSpPr/>
            <p:nvPr/>
          </p:nvCxnSpPr>
          <p:spPr>
            <a:xfrm flipV="1">
              <a:off x="0" y="370777"/>
              <a:ext cx="0" cy="45719"/>
            </a:xfrm>
            <a:prstGeom prst="line">
              <a:avLst/>
            </a:prstGeom>
            <a:ln w="3175">
              <a:noFill/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88698F54-A705-49D3-8594-E59BFC6BB97B}"/>
                </a:ext>
              </a:extLst>
            </p:cNvPr>
            <p:cNvCxnSpPr/>
            <p:nvPr userDrawn="1"/>
          </p:nvCxnSpPr>
          <p:spPr>
            <a:xfrm flipV="1">
              <a:off x="6856806" y="370777"/>
              <a:ext cx="0" cy="45719"/>
            </a:xfrm>
            <a:prstGeom prst="line">
              <a:avLst/>
            </a:prstGeom>
            <a:ln w="3175">
              <a:noFill/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200" b="0" kern="1200" dirty="0">
          <a:solidFill>
            <a:schemeClr val="accent1"/>
          </a:solidFill>
          <a:effectLst/>
          <a:latin typeface="NeulandFontEuro" panose="00000400000000000000" pitchFamily="2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Tx/>
        <a:buNone/>
        <a:defRPr sz="2000" kern="120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300"/>
        </a:spcBef>
        <a:buFont typeface="NeulandFontEuro" panose="00000400000000000000" pitchFamily="2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2pPr>
      <a:lvl3pPr marL="450850" indent="-273050" algn="l" defTabSz="914400" rtl="0" eaLnBrk="1" latinLnBrk="0" hangingPunct="1">
        <a:spcBef>
          <a:spcPts val="300"/>
        </a:spcBef>
        <a:buFont typeface="NeulandFontEuro" panose="00000400000000000000" pitchFamily="2" charset="0"/>
        <a:buChar char="—"/>
        <a:defRPr sz="2000" kern="120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3pPr>
      <a:lvl4pPr marL="628650" indent="-177800" algn="l" defTabSz="914400" rtl="0" eaLnBrk="1" latinLnBrk="0" hangingPunct="1">
        <a:spcBef>
          <a:spcPts val="300"/>
        </a:spcBef>
        <a:buFont typeface="NeulandFontEuro" panose="00000400000000000000" pitchFamily="2" charset="0"/>
        <a:buChar char="–"/>
        <a:defRPr sz="2000" kern="120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4pPr>
      <a:lvl5pPr marL="806450" indent="-177800" algn="l" defTabSz="914400" rtl="0" eaLnBrk="1" latinLnBrk="0" hangingPunct="1">
        <a:spcBef>
          <a:spcPts val="300"/>
        </a:spcBef>
        <a:buFont typeface="NeulandFontEuro" panose="00000400000000000000" pitchFamily="2" charset="0"/>
        <a:buChar char="›"/>
        <a:defRPr sz="2000" kern="1200" baseline="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5pPr>
      <a:lvl6pPr marL="984250" indent="-177800" algn="l" defTabSz="914400" rtl="0" eaLnBrk="1" latinLnBrk="0" hangingPunct="1">
        <a:spcBef>
          <a:spcPts val="300"/>
        </a:spcBef>
        <a:buFont typeface="NeulandFontEuro" panose="00000400000000000000" pitchFamily="2" charset="0"/>
        <a:buChar char="·"/>
        <a:defRPr sz="2000" kern="1200">
          <a:solidFill>
            <a:schemeClr val="tx1">
              <a:lumMod val="65000"/>
              <a:lumOff val="35000"/>
            </a:schemeClr>
          </a:solidFill>
          <a:latin typeface="NeulandFontEuro" panose="00000400000000000000" pitchFamily="2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image" Target="../media/image5.png"/><Relationship Id="rId3" Type="http://schemas.openxmlformats.org/officeDocument/2006/relationships/tags" Target="../tags/tag8.xml"/><Relationship Id="rId21" Type="http://schemas.openxmlformats.org/officeDocument/2006/relationships/tags" Target="../tags/tag26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image" Target="../media/image4.png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notesSlide" Target="../notesSlides/notesSlide4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emf"/><Relationship Id="rId2" Type="http://schemas.openxmlformats.org/officeDocument/2006/relationships/tags" Target="../tags/tag2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7" Type="http://schemas.openxmlformats.org/officeDocument/2006/relationships/hyperlink" Target="http://www.office-services-germany.de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info@office-services-germany.de" TargetMode="External"/><Relationship Id="rId5" Type="http://schemas.openxmlformats.org/officeDocument/2006/relationships/image" Target="../media/image9.jpg"/><Relationship Id="rId4" Type="http://schemas.openxmlformats.org/officeDocument/2006/relationships/image" Target="../media/image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Flipchart-Vorlage mit oder ohne Hintergrundrast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Freeform 18">
            <a:extLst>
              <a:ext uri="{FF2B5EF4-FFF2-40B4-BE49-F238E27FC236}">
                <a16:creationId xmlns:a16="http://schemas.microsoft.com/office/drawing/2014/main" id="{B1C90FA3-96C2-4B61-BF15-5213380AB7D0}"/>
              </a:ext>
            </a:extLst>
          </p:cNvPr>
          <p:cNvSpPr>
            <a:spLocks/>
          </p:cNvSpPr>
          <p:nvPr/>
        </p:nvSpPr>
        <p:spPr bwMode="gray">
          <a:xfrm rot="167541">
            <a:off x="336221" y="2722748"/>
            <a:ext cx="6006565" cy="500909"/>
          </a:xfrm>
          <a:custGeom>
            <a:avLst/>
            <a:gdLst>
              <a:gd name="T0" fmla="*/ 159 w 5878"/>
              <a:gd name="T1" fmla="*/ 1390 h 1390"/>
              <a:gd name="T2" fmla="*/ 238 w 5878"/>
              <a:gd name="T3" fmla="*/ 1330 h 1390"/>
              <a:gd name="T4" fmla="*/ 324 w 5878"/>
              <a:gd name="T5" fmla="*/ 1307 h 1390"/>
              <a:gd name="T6" fmla="*/ 409 w 5878"/>
              <a:gd name="T7" fmla="*/ 1280 h 1390"/>
              <a:gd name="T8" fmla="*/ 496 w 5878"/>
              <a:gd name="T9" fmla="*/ 1255 h 1390"/>
              <a:gd name="T10" fmla="*/ 582 w 5878"/>
              <a:gd name="T11" fmla="*/ 1227 h 1390"/>
              <a:gd name="T12" fmla="*/ 667 w 5878"/>
              <a:gd name="T13" fmla="*/ 1200 h 1390"/>
              <a:gd name="T14" fmla="*/ 754 w 5878"/>
              <a:gd name="T15" fmla="*/ 1173 h 1390"/>
              <a:gd name="T16" fmla="*/ 838 w 5878"/>
              <a:gd name="T17" fmla="*/ 1146 h 1390"/>
              <a:gd name="T18" fmla="*/ 925 w 5878"/>
              <a:gd name="T19" fmla="*/ 1121 h 1390"/>
              <a:gd name="T20" fmla="*/ 1010 w 5878"/>
              <a:gd name="T21" fmla="*/ 1097 h 1390"/>
              <a:gd name="T22" fmla="*/ 1096 w 5878"/>
              <a:gd name="T23" fmla="*/ 1076 h 1390"/>
              <a:gd name="T24" fmla="*/ 1299 w 5878"/>
              <a:gd name="T25" fmla="*/ 1024 h 1390"/>
              <a:gd name="T26" fmla="*/ 1738 w 5878"/>
              <a:gd name="T27" fmla="*/ 919 h 1390"/>
              <a:gd name="T28" fmla="*/ 2178 w 5878"/>
              <a:gd name="T29" fmla="*/ 824 h 1390"/>
              <a:gd name="T30" fmla="*/ 2620 w 5878"/>
              <a:gd name="T31" fmla="*/ 739 h 1390"/>
              <a:gd name="T32" fmla="*/ 3060 w 5878"/>
              <a:gd name="T33" fmla="*/ 665 h 1390"/>
              <a:gd name="T34" fmla="*/ 3502 w 5878"/>
              <a:gd name="T35" fmla="*/ 603 h 1390"/>
              <a:gd name="T36" fmla="*/ 3943 w 5878"/>
              <a:gd name="T37" fmla="*/ 553 h 1390"/>
              <a:gd name="T38" fmla="*/ 4383 w 5878"/>
              <a:gd name="T39" fmla="*/ 514 h 1390"/>
              <a:gd name="T40" fmla="*/ 4821 w 5878"/>
              <a:gd name="T41" fmla="*/ 487 h 1390"/>
              <a:gd name="T42" fmla="*/ 5258 w 5878"/>
              <a:gd name="T43" fmla="*/ 469 h 1390"/>
              <a:gd name="T44" fmla="*/ 5690 w 5878"/>
              <a:gd name="T45" fmla="*/ 465 h 1390"/>
              <a:gd name="T46" fmla="*/ 5855 w 5878"/>
              <a:gd name="T47" fmla="*/ 452 h 1390"/>
              <a:gd name="T48" fmla="*/ 5872 w 5878"/>
              <a:gd name="T49" fmla="*/ 403 h 1390"/>
              <a:gd name="T50" fmla="*/ 5878 w 5878"/>
              <a:gd name="T51" fmla="*/ 341 h 1390"/>
              <a:gd name="T52" fmla="*/ 5866 w 5878"/>
              <a:gd name="T53" fmla="*/ 194 h 1390"/>
              <a:gd name="T54" fmla="*/ 5861 w 5878"/>
              <a:gd name="T55" fmla="*/ 105 h 1390"/>
              <a:gd name="T56" fmla="*/ 5843 w 5878"/>
              <a:gd name="T57" fmla="*/ 47 h 1390"/>
              <a:gd name="T58" fmla="*/ 5820 w 5878"/>
              <a:gd name="T59" fmla="*/ 0 h 1390"/>
              <a:gd name="T60" fmla="*/ 5277 w 5878"/>
              <a:gd name="T61" fmla="*/ 27 h 1390"/>
              <a:gd name="T62" fmla="*/ 4732 w 5878"/>
              <a:gd name="T63" fmla="*/ 72 h 1390"/>
              <a:gd name="T64" fmla="*/ 4189 w 5878"/>
              <a:gd name="T65" fmla="*/ 132 h 1390"/>
              <a:gd name="T66" fmla="*/ 3648 w 5878"/>
              <a:gd name="T67" fmla="*/ 206 h 1390"/>
              <a:gd name="T68" fmla="*/ 3105 w 5878"/>
              <a:gd name="T69" fmla="*/ 295 h 1390"/>
              <a:gd name="T70" fmla="*/ 2562 w 5878"/>
              <a:gd name="T71" fmla="*/ 396 h 1390"/>
              <a:gd name="T72" fmla="*/ 2019 w 5878"/>
              <a:gd name="T73" fmla="*/ 514 h 1390"/>
              <a:gd name="T74" fmla="*/ 1476 w 5878"/>
              <a:gd name="T75" fmla="*/ 644 h 1390"/>
              <a:gd name="T76" fmla="*/ 931 w 5878"/>
              <a:gd name="T77" fmla="*/ 787 h 1390"/>
              <a:gd name="T78" fmla="*/ 386 w 5878"/>
              <a:gd name="T79" fmla="*/ 944 h 1390"/>
              <a:gd name="T80" fmla="*/ 17 w 5878"/>
              <a:gd name="T81" fmla="*/ 1059 h 1390"/>
              <a:gd name="T82" fmla="*/ 8 w 5878"/>
              <a:gd name="T83" fmla="*/ 1076 h 1390"/>
              <a:gd name="T84" fmla="*/ 2 w 5878"/>
              <a:gd name="T85" fmla="*/ 1103 h 1390"/>
              <a:gd name="T86" fmla="*/ 8 w 5878"/>
              <a:gd name="T87" fmla="*/ 1158 h 1390"/>
              <a:gd name="T88" fmla="*/ 25 w 5878"/>
              <a:gd name="T89" fmla="*/ 1222 h 1390"/>
              <a:gd name="T90" fmla="*/ 50 w 5878"/>
              <a:gd name="T91" fmla="*/ 1278 h 1390"/>
              <a:gd name="T92" fmla="*/ 81 w 5878"/>
              <a:gd name="T93" fmla="*/ 1326 h 1390"/>
              <a:gd name="T94" fmla="*/ 122 w 5878"/>
              <a:gd name="T95" fmla="*/ 1367 h 1390"/>
              <a:gd name="T96" fmla="*/ 155 w 5878"/>
              <a:gd name="T97" fmla="*/ 1390 h 1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78" h="1390">
                <a:moveTo>
                  <a:pt x="155" y="1390"/>
                </a:moveTo>
                <a:lnTo>
                  <a:pt x="157" y="1390"/>
                </a:lnTo>
                <a:lnTo>
                  <a:pt x="159" y="1390"/>
                </a:lnTo>
                <a:lnTo>
                  <a:pt x="163" y="1390"/>
                </a:lnTo>
                <a:lnTo>
                  <a:pt x="163" y="1390"/>
                </a:lnTo>
                <a:lnTo>
                  <a:pt x="238" y="1330"/>
                </a:lnTo>
                <a:lnTo>
                  <a:pt x="266" y="1322"/>
                </a:lnTo>
                <a:lnTo>
                  <a:pt x="295" y="1313"/>
                </a:lnTo>
                <a:lnTo>
                  <a:pt x="324" y="1307"/>
                </a:lnTo>
                <a:lnTo>
                  <a:pt x="353" y="1297"/>
                </a:lnTo>
                <a:lnTo>
                  <a:pt x="380" y="1289"/>
                </a:lnTo>
                <a:lnTo>
                  <a:pt x="409" y="1280"/>
                </a:lnTo>
                <a:lnTo>
                  <a:pt x="438" y="1272"/>
                </a:lnTo>
                <a:lnTo>
                  <a:pt x="467" y="1262"/>
                </a:lnTo>
                <a:lnTo>
                  <a:pt x="496" y="1255"/>
                </a:lnTo>
                <a:lnTo>
                  <a:pt x="524" y="1245"/>
                </a:lnTo>
                <a:lnTo>
                  <a:pt x="553" y="1235"/>
                </a:lnTo>
                <a:lnTo>
                  <a:pt x="582" y="1227"/>
                </a:lnTo>
                <a:lnTo>
                  <a:pt x="611" y="1218"/>
                </a:lnTo>
                <a:lnTo>
                  <a:pt x="638" y="1208"/>
                </a:lnTo>
                <a:lnTo>
                  <a:pt x="667" y="1200"/>
                </a:lnTo>
                <a:lnTo>
                  <a:pt x="696" y="1191"/>
                </a:lnTo>
                <a:lnTo>
                  <a:pt x="723" y="1181"/>
                </a:lnTo>
                <a:lnTo>
                  <a:pt x="754" y="1173"/>
                </a:lnTo>
                <a:lnTo>
                  <a:pt x="781" y="1163"/>
                </a:lnTo>
                <a:lnTo>
                  <a:pt x="811" y="1156"/>
                </a:lnTo>
                <a:lnTo>
                  <a:pt x="838" y="1146"/>
                </a:lnTo>
                <a:lnTo>
                  <a:pt x="867" y="1138"/>
                </a:lnTo>
                <a:lnTo>
                  <a:pt x="896" y="1128"/>
                </a:lnTo>
                <a:lnTo>
                  <a:pt x="925" y="1121"/>
                </a:lnTo>
                <a:lnTo>
                  <a:pt x="952" y="1113"/>
                </a:lnTo>
                <a:lnTo>
                  <a:pt x="981" y="1105"/>
                </a:lnTo>
                <a:lnTo>
                  <a:pt x="1010" y="1097"/>
                </a:lnTo>
                <a:lnTo>
                  <a:pt x="1039" y="1090"/>
                </a:lnTo>
                <a:lnTo>
                  <a:pt x="1068" y="1082"/>
                </a:lnTo>
                <a:lnTo>
                  <a:pt x="1096" y="1076"/>
                </a:lnTo>
                <a:lnTo>
                  <a:pt x="1125" y="1068"/>
                </a:lnTo>
                <a:lnTo>
                  <a:pt x="1154" y="1063"/>
                </a:lnTo>
                <a:lnTo>
                  <a:pt x="1299" y="1024"/>
                </a:lnTo>
                <a:lnTo>
                  <a:pt x="1445" y="989"/>
                </a:lnTo>
                <a:lnTo>
                  <a:pt x="1592" y="952"/>
                </a:lnTo>
                <a:lnTo>
                  <a:pt x="1738" y="919"/>
                </a:lnTo>
                <a:lnTo>
                  <a:pt x="1885" y="886"/>
                </a:lnTo>
                <a:lnTo>
                  <a:pt x="2032" y="853"/>
                </a:lnTo>
                <a:lnTo>
                  <a:pt x="2178" y="824"/>
                </a:lnTo>
                <a:lnTo>
                  <a:pt x="2325" y="793"/>
                </a:lnTo>
                <a:lnTo>
                  <a:pt x="2473" y="766"/>
                </a:lnTo>
                <a:lnTo>
                  <a:pt x="2620" y="739"/>
                </a:lnTo>
                <a:lnTo>
                  <a:pt x="2767" y="714"/>
                </a:lnTo>
                <a:lnTo>
                  <a:pt x="2915" y="688"/>
                </a:lnTo>
                <a:lnTo>
                  <a:pt x="3060" y="665"/>
                </a:lnTo>
                <a:lnTo>
                  <a:pt x="3208" y="644"/>
                </a:lnTo>
                <a:lnTo>
                  <a:pt x="3355" y="622"/>
                </a:lnTo>
                <a:lnTo>
                  <a:pt x="3502" y="603"/>
                </a:lnTo>
                <a:lnTo>
                  <a:pt x="3650" y="586"/>
                </a:lnTo>
                <a:lnTo>
                  <a:pt x="3795" y="568"/>
                </a:lnTo>
                <a:lnTo>
                  <a:pt x="3943" y="553"/>
                </a:lnTo>
                <a:lnTo>
                  <a:pt x="4090" y="539"/>
                </a:lnTo>
                <a:lnTo>
                  <a:pt x="4235" y="525"/>
                </a:lnTo>
                <a:lnTo>
                  <a:pt x="4383" y="514"/>
                </a:lnTo>
                <a:lnTo>
                  <a:pt x="4528" y="502"/>
                </a:lnTo>
                <a:lnTo>
                  <a:pt x="4676" y="494"/>
                </a:lnTo>
                <a:lnTo>
                  <a:pt x="4821" y="487"/>
                </a:lnTo>
                <a:lnTo>
                  <a:pt x="4967" y="479"/>
                </a:lnTo>
                <a:lnTo>
                  <a:pt x="5112" y="475"/>
                </a:lnTo>
                <a:lnTo>
                  <a:pt x="5258" y="469"/>
                </a:lnTo>
                <a:lnTo>
                  <a:pt x="5401" y="467"/>
                </a:lnTo>
                <a:lnTo>
                  <a:pt x="5546" y="465"/>
                </a:lnTo>
                <a:lnTo>
                  <a:pt x="5690" y="465"/>
                </a:lnTo>
                <a:lnTo>
                  <a:pt x="5835" y="467"/>
                </a:lnTo>
                <a:lnTo>
                  <a:pt x="5845" y="462"/>
                </a:lnTo>
                <a:lnTo>
                  <a:pt x="5855" y="452"/>
                </a:lnTo>
                <a:lnTo>
                  <a:pt x="5861" y="438"/>
                </a:lnTo>
                <a:lnTo>
                  <a:pt x="5868" y="423"/>
                </a:lnTo>
                <a:lnTo>
                  <a:pt x="5872" y="403"/>
                </a:lnTo>
                <a:lnTo>
                  <a:pt x="5876" y="382"/>
                </a:lnTo>
                <a:lnTo>
                  <a:pt x="5878" y="363"/>
                </a:lnTo>
                <a:lnTo>
                  <a:pt x="5878" y="341"/>
                </a:lnTo>
                <a:lnTo>
                  <a:pt x="5872" y="291"/>
                </a:lnTo>
                <a:lnTo>
                  <a:pt x="5868" y="242"/>
                </a:lnTo>
                <a:lnTo>
                  <a:pt x="5866" y="194"/>
                </a:lnTo>
                <a:lnTo>
                  <a:pt x="5865" y="147"/>
                </a:lnTo>
                <a:lnTo>
                  <a:pt x="5863" y="126"/>
                </a:lnTo>
                <a:lnTo>
                  <a:pt x="5861" y="105"/>
                </a:lnTo>
                <a:lnTo>
                  <a:pt x="5857" y="85"/>
                </a:lnTo>
                <a:lnTo>
                  <a:pt x="5849" y="66"/>
                </a:lnTo>
                <a:lnTo>
                  <a:pt x="5843" y="47"/>
                </a:lnTo>
                <a:lnTo>
                  <a:pt x="5835" y="31"/>
                </a:lnTo>
                <a:lnTo>
                  <a:pt x="5828" y="14"/>
                </a:lnTo>
                <a:lnTo>
                  <a:pt x="5820" y="0"/>
                </a:lnTo>
                <a:lnTo>
                  <a:pt x="5638" y="8"/>
                </a:lnTo>
                <a:lnTo>
                  <a:pt x="5457" y="16"/>
                </a:lnTo>
                <a:lnTo>
                  <a:pt x="5277" y="27"/>
                </a:lnTo>
                <a:lnTo>
                  <a:pt x="5095" y="41"/>
                </a:lnTo>
                <a:lnTo>
                  <a:pt x="4914" y="54"/>
                </a:lnTo>
                <a:lnTo>
                  <a:pt x="4732" y="72"/>
                </a:lnTo>
                <a:lnTo>
                  <a:pt x="4552" y="89"/>
                </a:lnTo>
                <a:lnTo>
                  <a:pt x="4371" y="111"/>
                </a:lnTo>
                <a:lnTo>
                  <a:pt x="4189" y="132"/>
                </a:lnTo>
                <a:lnTo>
                  <a:pt x="4009" y="155"/>
                </a:lnTo>
                <a:lnTo>
                  <a:pt x="3828" y="180"/>
                </a:lnTo>
                <a:lnTo>
                  <a:pt x="3648" y="206"/>
                </a:lnTo>
                <a:lnTo>
                  <a:pt x="3466" y="233"/>
                </a:lnTo>
                <a:lnTo>
                  <a:pt x="3285" y="262"/>
                </a:lnTo>
                <a:lnTo>
                  <a:pt x="3105" y="295"/>
                </a:lnTo>
                <a:lnTo>
                  <a:pt x="2923" y="326"/>
                </a:lnTo>
                <a:lnTo>
                  <a:pt x="2742" y="361"/>
                </a:lnTo>
                <a:lnTo>
                  <a:pt x="2562" y="396"/>
                </a:lnTo>
                <a:lnTo>
                  <a:pt x="2381" y="434"/>
                </a:lnTo>
                <a:lnTo>
                  <a:pt x="2199" y="473"/>
                </a:lnTo>
                <a:lnTo>
                  <a:pt x="2019" y="514"/>
                </a:lnTo>
                <a:lnTo>
                  <a:pt x="1838" y="555"/>
                </a:lnTo>
                <a:lnTo>
                  <a:pt x="1656" y="599"/>
                </a:lnTo>
                <a:lnTo>
                  <a:pt x="1476" y="644"/>
                </a:lnTo>
                <a:lnTo>
                  <a:pt x="1293" y="690"/>
                </a:lnTo>
                <a:lnTo>
                  <a:pt x="1111" y="737"/>
                </a:lnTo>
                <a:lnTo>
                  <a:pt x="931" y="787"/>
                </a:lnTo>
                <a:lnTo>
                  <a:pt x="748" y="838"/>
                </a:lnTo>
                <a:lnTo>
                  <a:pt x="568" y="890"/>
                </a:lnTo>
                <a:lnTo>
                  <a:pt x="386" y="944"/>
                </a:lnTo>
                <a:lnTo>
                  <a:pt x="204" y="999"/>
                </a:lnTo>
                <a:lnTo>
                  <a:pt x="21" y="1055"/>
                </a:lnTo>
                <a:lnTo>
                  <a:pt x="17" y="1059"/>
                </a:lnTo>
                <a:lnTo>
                  <a:pt x="13" y="1063"/>
                </a:lnTo>
                <a:lnTo>
                  <a:pt x="10" y="1068"/>
                </a:lnTo>
                <a:lnTo>
                  <a:pt x="8" y="1076"/>
                </a:lnTo>
                <a:lnTo>
                  <a:pt x="6" y="1084"/>
                </a:lnTo>
                <a:lnTo>
                  <a:pt x="4" y="1094"/>
                </a:lnTo>
                <a:lnTo>
                  <a:pt x="2" y="1103"/>
                </a:lnTo>
                <a:lnTo>
                  <a:pt x="0" y="1115"/>
                </a:lnTo>
                <a:lnTo>
                  <a:pt x="4" y="1136"/>
                </a:lnTo>
                <a:lnTo>
                  <a:pt x="8" y="1158"/>
                </a:lnTo>
                <a:lnTo>
                  <a:pt x="13" y="1179"/>
                </a:lnTo>
                <a:lnTo>
                  <a:pt x="19" y="1200"/>
                </a:lnTo>
                <a:lnTo>
                  <a:pt x="25" y="1222"/>
                </a:lnTo>
                <a:lnTo>
                  <a:pt x="33" y="1241"/>
                </a:lnTo>
                <a:lnTo>
                  <a:pt x="41" y="1258"/>
                </a:lnTo>
                <a:lnTo>
                  <a:pt x="50" y="1278"/>
                </a:lnTo>
                <a:lnTo>
                  <a:pt x="60" y="1295"/>
                </a:lnTo>
                <a:lnTo>
                  <a:pt x="70" y="1311"/>
                </a:lnTo>
                <a:lnTo>
                  <a:pt x="81" y="1326"/>
                </a:lnTo>
                <a:lnTo>
                  <a:pt x="95" y="1342"/>
                </a:lnTo>
                <a:lnTo>
                  <a:pt x="108" y="1353"/>
                </a:lnTo>
                <a:lnTo>
                  <a:pt x="122" y="1367"/>
                </a:lnTo>
                <a:lnTo>
                  <a:pt x="138" y="1379"/>
                </a:lnTo>
                <a:lnTo>
                  <a:pt x="155" y="1390"/>
                </a:lnTo>
                <a:lnTo>
                  <a:pt x="155" y="1390"/>
                </a:lnTo>
                <a:lnTo>
                  <a:pt x="155" y="139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de-DE" dirty="0">
              <a:latin typeface="NeulandFontEuro"/>
              <a:sym typeface="NeulandFontEuro"/>
            </a:endParaRPr>
          </a:p>
        </p:txBody>
      </p:sp>
    </p:spTree>
    <p:extLst>
      <p:ext uri="{BB962C8B-B14F-4D97-AF65-F5344CB8AC3E}">
        <p14:creationId xmlns:p14="http://schemas.microsoft.com/office/powerpoint/2010/main" val="26193135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Fließtext</a:t>
            </a:r>
          </a:p>
          <a:p>
            <a:pPr lvl="1"/>
            <a:r>
              <a:rPr lang="de-DE" dirty="0"/>
              <a:t>Aufzählungsebene</a:t>
            </a:r>
          </a:p>
          <a:p>
            <a:pPr lvl="2"/>
            <a:r>
              <a:rPr lang="de-DE" dirty="0"/>
              <a:t>2. Ebene</a:t>
            </a:r>
          </a:p>
          <a:p>
            <a:pPr lvl="3"/>
            <a:r>
              <a:rPr lang="de-DE" dirty="0"/>
              <a:t>3. Eben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DEFF57B-94D9-47F8-AD21-F381B890F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8DD03-20FC-405A-94DC-BF6A1761BEAA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6172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05C34B5C-BB7C-4C37-8CBD-61BE3F95F03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b="13316"/>
          <a:stretch/>
        </p:blipFill>
        <p:spPr>
          <a:xfrm>
            <a:off x="938746" y="2826910"/>
            <a:ext cx="4858428" cy="54006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1BC5554-200F-4BAC-9CDE-921F7CE4EE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Hintergrundraster kann leicht ein- und ausgeblendet werd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8DD03-20FC-405A-94DC-BF6A1761BEAA}" type="slidenum">
              <a:rPr lang="de-DE" smtClean="0"/>
              <a:pPr/>
              <a:t>3</a:t>
            </a:fld>
            <a:endParaRPr lang="de-DE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DFAF35C-9BA6-4409-9AAE-A4F8BF5683E7}"/>
              </a:ext>
            </a:extLst>
          </p:cNvPr>
          <p:cNvGrpSpPr/>
          <p:nvPr/>
        </p:nvGrpSpPr>
        <p:grpSpPr>
          <a:xfrm rot="9579587">
            <a:off x="2959260" y="2756578"/>
            <a:ext cx="536797" cy="759677"/>
            <a:chOff x="8618861" y="3254911"/>
            <a:chExt cx="403713" cy="572784"/>
          </a:xfrm>
        </p:grpSpPr>
        <p:sp>
          <p:nvSpPr>
            <p:cNvPr id="10" name="Freeform 22">
              <a:extLst>
                <a:ext uri="{FF2B5EF4-FFF2-40B4-BE49-F238E27FC236}">
                  <a16:creationId xmlns:a16="http://schemas.microsoft.com/office/drawing/2014/main" id="{F833A12D-7C77-43E2-BA2F-7365FBEF4146}"/>
                </a:ext>
              </a:extLst>
            </p:cNvPr>
            <p:cNvSpPr>
              <a:spLocks/>
            </p:cNvSpPr>
            <p:nvPr/>
          </p:nvSpPr>
          <p:spPr bwMode="gray">
            <a:xfrm rot="4080801" flipH="1">
              <a:off x="8501472" y="3430906"/>
              <a:ext cx="514178" cy="279400"/>
            </a:xfrm>
            <a:custGeom>
              <a:avLst/>
              <a:gdLst>
                <a:gd name="T0" fmla="*/ 159 w 5878"/>
                <a:gd name="T1" fmla="*/ 1390 h 1390"/>
                <a:gd name="T2" fmla="*/ 238 w 5878"/>
                <a:gd name="T3" fmla="*/ 1330 h 1390"/>
                <a:gd name="T4" fmla="*/ 324 w 5878"/>
                <a:gd name="T5" fmla="*/ 1307 h 1390"/>
                <a:gd name="T6" fmla="*/ 409 w 5878"/>
                <a:gd name="T7" fmla="*/ 1280 h 1390"/>
                <a:gd name="T8" fmla="*/ 496 w 5878"/>
                <a:gd name="T9" fmla="*/ 1255 h 1390"/>
                <a:gd name="T10" fmla="*/ 582 w 5878"/>
                <a:gd name="T11" fmla="*/ 1227 h 1390"/>
                <a:gd name="T12" fmla="*/ 667 w 5878"/>
                <a:gd name="T13" fmla="*/ 1200 h 1390"/>
                <a:gd name="T14" fmla="*/ 754 w 5878"/>
                <a:gd name="T15" fmla="*/ 1173 h 1390"/>
                <a:gd name="T16" fmla="*/ 838 w 5878"/>
                <a:gd name="T17" fmla="*/ 1146 h 1390"/>
                <a:gd name="T18" fmla="*/ 925 w 5878"/>
                <a:gd name="T19" fmla="*/ 1121 h 1390"/>
                <a:gd name="T20" fmla="*/ 1010 w 5878"/>
                <a:gd name="T21" fmla="*/ 1097 h 1390"/>
                <a:gd name="T22" fmla="*/ 1096 w 5878"/>
                <a:gd name="T23" fmla="*/ 1076 h 1390"/>
                <a:gd name="T24" fmla="*/ 1299 w 5878"/>
                <a:gd name="T25" fmla="*/ 1024 h 1390"/>
                <a:gd name="T26" fmla="*/ 1738 w 5878"/>
                <a:gd name="T27" fmla="*/ 919 h 1390"/>
                <a:gd name="T28" fmla="*/ 2178 w 5878"/>
                <a:gd name="T29" fmla="*/ 824 h 1390"/>
                <a:gd name="T30" fmla="*/ 2620 w 5878"/>
                <a:gd name="T31" fmla="*/ 739 h 1390"/>
                <a:gd name="T32" fmla="*/ 3060 w 5878"/>
                <a:gd name="T33" fmla="*/ 665 h 1390"/>
                <a:gd name="T34" fmla="*/ 3502 w 5878"/>
                <a:gd name="T35" fmla="*/ 603 h 1390"/>
                <a:gd name="T36" fmla="*/ 3943 w 5878"/>
                <a:gd name="T37" fmla="*/ 553 h 1390"/>
                <a:gd name="T38" fmla="*/ 4383 w 5878"/>
                <a:gd name="T39" fmla="*/ 514 h 1390"/>
                <a:gd name="T40" fmla="*/ 4821 w 5878"/>
                <a:gd name="T41" fmla="*/ 487 h 1390"/>
                <a:gd name="T42" fmla="*/ 5258 w 5878"/>
                <a:gd name="T43" fmla="*/ 469 h 1390"/>
                <a:gd name="T44" fmla="*/ 5690 w 5878"/>
                <a:gd name="T45" fmla="*/ 465 h 1390"/>
                <a:gd name="T46" fmla="*/ 5855 w 5878"/>
                <a:gd name="T47" fmla="*/ 452 h 1390"/>
                <a:gd name="T48" fmla="*/ 5872 w 5878"/>
                <a:gd name="T49" fmla="*/ 403 h 1390"/>
                <a:gd name="T50" fmla="*/ 5878 w 5878"/>
                <a:gd name="T51" fmla="*/ 341 h 1390"/>
                <a:gd name="T52" fmla="*/ 5866 w 5878"/>
                <a:gd name="T53" fmla="*/ 194 h 1390"/>
                <a:gd name="T54" fmla="*/ 5861 w 5878"/>
                <a:gd name="T55" fmla="*/ 105 h 1390"/>
                <a:gd name="T56" fmla="*/ 5843 w 5878"/>
                <a:gd name="T57" fmla="*/ 47 h 1390"/>
                <a:gd name="T58" fmla="*/ 5820 w 5878"/>
                <a:gd name="T59" fmla="*/ 0 h 1390"/>
                <a:gd name="T60" fmla="*/ 5277 w 5878"/>
                <a:gd name="T61" fmla="*/ 27 h 1390"/>
                <a:gd name="T62" fmla="*/ 4732 w 5878"/>
                <a:gd name="T63" fmla="*/ 72 h 1390"/>
                <a:gd name="T64" fmla="*/ 4189 w 5878"/>
                <a:gd name="T65" fmla="*/ 132 h 1390"/>
                <a:gd name="T66" fmla="*/ 3648 w 5878"/>
                <a:gd name="T67" fmla="*/ 206 h 1390"/>
                <a:gd name="T68" fmla="*/ 3105 w 5878"/>
                <a:gd name="T69" fmla="*/ 295 h 1390"/>
                <a:gd name="T70" fmla="*/ 2562 w 5878"/>
                <a:gd name="T71" fmla="*/ 396 h 1390"/>
                <a:gd name="T72" fmla="*/ 2019 w 5878"/>
                <a:gd name="T73" fmla="*/ 514 h 1390"/>
                <a:gd name="T74" fmla="*/ 1476 w 5878"/>
                <a:gd name="T75" fmla="*/ 644 h 1390"/>
                <a:gd name="T76" fmla="*/ 931 w 5878"/>
                <a:gd name="T77" fmla="*/ 787 h 1390"/>
                <a:gd name="T78" fmla="*/ 386 w 5878"/>
                <a:gd name="T79" fmla="*/ 944 h 1390"/>
                <a:gd name="T80" fmla="*/ 17 w 5878"/>
                <a:gd name="T81" fmla="*/ 1059 h 1390"/>
                <a:gd name="T82" fmla="*/ 8 w 5878"/>
                <a:gd name="T83" fmla="*/ 1076 h 1390"/>
                <a:gd name="T84" fmla="*/ 2 w 5878"/>
                <a:gd name="T85" fmla="*/ 1103 h 1390"/>
                <a:gd name="T86" fmla="*/ 8 w 5878"/>
                <a:gd name="T87" fmla="*/ 1158 h 1390"/>
                <a:gd name="T88" fmla="*/ 25 w 5878"/>
                <a:gd name="T89" fmla="*/ 1222 h 1390"/>
                <a:gd name="T90" fmla="*/ 50 w 5878"/>
                <a:gd name="T91" fmla="*/ 1278 h 1390"/>
                <a:gd name="T92" fmla="*/ 81 w 5878"/>
                <a:gd name="T93" fmla="*/ 1326 h 1390"/>
                <a:gd name="T94" fmla="*/ 122 w 5878"/>
                <a:gd name="T95" fmla="*/ 1367 h 1390"/>
                <a:gd name="T96" fmla="*/ 155 w 5878"/>
                <a:gd name="T97" fmla="*/ 1390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78" h="1390">
                  <a:moveTo>
                    <a:pt x="155" y="1390"/>
                  </a:moveTo>
                  <a:lnTo>
                    <a:pt x="157" y="1390"/>
                  </a:lnTo>
                  <a:lnTo>
                    <a:pt x="159" y="1390"/>
                  </a:lnTo>
                  <a:lnTo>
                    <a:pt x="163" y="1390"/>
                  </a:lnTo>
                  <a:lnTo>
                    <a:pt x="163" y="1390"/>
                  </a:lnTo>
                  <a:lnTo>
                    <a:pt x="238" y="1330"/>
                  </a:lnTo>
                  <a:lnTo>
                    <a:pt x="266" y="1322"/>
                  </a:lnTo>
                  <a:lnTo>
                    <a:pt x="295" y="1313"/>
                  </a:lnTo>
                  <a:lnTo>
                    <a:pt x="324" y="1307"/>
                  </a:lnTo>
                  <a:lnTo>
                    <a:pt x="353" y="1297"/>
                  </a:lnTo>
                  <a:lnTo>
                    <a:pt x="380" y="1289"/>
                  </a:lnTo>
                  <a:lnTo>
                    <a:pt x="409" y="1280"/>
                  </a:lnTo>
                  <a:lnTo>
                    <a:pt x="438" y="1272"/>
                  </a:lnTo>
                  <a:lnTo>
                    <a:pt x="467" y="1262"/>
                  </a:lnTo>
                  <a:lnTo>
                    <a:pt x="496" y="1255"/>
                  </a:lnTo>
                  <a:lnTo>
                    <a:pt x="524" y="1245"/>
                  </a:lnTo>
                  <a:lnTo>
                    <a:pt x="553" y="1235"/>
                  </a:lnTo>
                  <a:lnTo>
                    <a:pt x="582" y="1227"/>
                  </a:lnTo>
                  <a:lnTo>
                    <a:pt x="611" y="1218"/>
                  </a:lnTo>
                  <a:lnTo>
                    <a:pt x="638" y="1208"/>
                  </a:lnTo>
                  <a:lnTo>
                    <a:pt x="667" y="1200"/>
                  </a:lnTo>
                  <a:lnTo>
                    <a:pt x="696" y="1191"/>
                  </a:lnTo>
                  <a:lnTo>
                    <a:pt x="723" y="1181"/>
                  </a:lnTo>
                  <a:lnTo>
                    <a:pt x="754" y="1173"/>
                  </a:lnTo>
                  <a:lnTo>
                    <a:pt x="781" y="1163"/>
                  </a:lnTo>
                  <a:lnTo>
                    <a:pt x="811" y="1156"/>
                  </a:lnTo>
                  <a:lnTo>
                    <a:pt x="838" y="1146"/>
                  </a:lnTo>
                  <a:lnTo>
                    <a:pt x="867" y="1138"/>
                  </a:lnTo>
                  <a:lnTo>
                    <a:pt x="896" y="1128"/>
                  </a:lnTo>
                  <a:lnTo>
                    <a:pt x="925" y="1121"/>
                  </a:lnTo>
                  <a:lnTo>
                    <a:pt x="952" y="1113"/>
                  </a:lnTo>
                  <a:lnTo>
                    <a:pt x="981" y="1105"/>
                  </a:lnTo>
                  <a:lnTo>
                    <a:pt x="1010" y="1097"/>
                  </a:lnTo>
                  <a:lnTo>
                    <a:pt x="1039" y="1090"/>
                  </a:lnTo>
                  <a:lnTo>
                    <a:pt x="1068" y="1082"/>
                  </a:lnTo>
                  <a:lnTo>
                    <a:pt x="1096" y="1076"/>
                  </a:lnTo>
                  <a:lnTo>
                    <a:pt x="1125" y="1068"/>
                  </a:lnTo>
                  <a:lnTo>
                    <a:pt x="1154" y="1063"/>
                  </a:lnTo>
                  <a:lnTo>
                    <a:pt x="1299" y="1024"/>
                  </a:lnTo>
                  <a:lnTo>
                    <a:pt x="1445" y="989"/>
                  </a:lnTo>
                  <a:lnTo>
                    <a:pt x="1592" y="952"/>
                  </a:lnTo>
                  <a:lnTo>
                    <a:pt x="1738" y="919"/>
                  </a:lnTo>
                  <a:lnTo>
                    <a:pt x="1885" y="886"/>
                  </a:lnTo>
                  <a:lnTo>
                    <a:pt x="2032" y="853"/>
                  </a:lnTo>
                  <a:lnTo>
                    <a:pt x="2178" y="824"/>
                  </a:lnTo>
                  <a:lnTo>
                    <a:pt x="2325" y="793"/>
                  </a:lnTo>
                  <a:lnTo>
                    <a:pt x="2473" y="766"/>
                  </a:lnTo>
                  <a:lnTo>
                    <a:pt x="2620" y="739"/>
                  </a:lnTo>
                  <a:lnTo>
                    <a:pt x="2767" y="714"/>
                  </a:lnTo>
                  <a:lnTo>
                    <a:pt x="2915" y="688"/>
                  </a:lnTo>
                  <a:lnTo>
                    <a:pt x="3060" y="665"/>
                  </a:lnTo>
                  <a:lnTo>
                    <a:pt x="3208" y="644"/>
                  </a:lnTo>
                  <a:lnTo>
                    <a:pt x="3355" y="622"/>
                  </a:lnTo>
                  <a:lnTo>
                    <a:pt x="3502" y="603"/>
                  </a:lnTo>
                  <a:lnTo>
                    <a:pt x="3650" y="586"/>
                  </a:lnTo>
                  <a:lnTo>
                    <a:pt x="3795" y="568"/>
                  </a:lnTo>
                  <a:lnTo>
                    <a:pt x="3943" y="553"/>
                  </a:lnTo>
                  <a:lnTo>
                    <a:pt x="4090" y="539"/>
                  </a:lnTo>
                  <a:lnTo>
                    <a:pt x="4235" y="525"/>
                  </a:lnTo>
                  <a:lnTo>
                    <a:pt x="4383" y="514"/>
                  </a:lnTo>
                  <a:lnTo>
                    <a:pt x="4528" y="502"/>
                  </a:lnTo>
                  <a:lnTo>
                    <a:pt x="4676" y="494"/>
                  </a:lnTo>
                  <a:lnTo>
                    <a:pt x="4821" y="487"/>
                  </a:lnTo>
                  <a:lnTo>
                    <a:pt x="4967" y="479"/>
                  </a:lnTo>
                  <a:lnTo>
                    <a:pt x="5112" y="475"/>
                  </a:lnTo>
                  <a:lnTo>
                    <a:pt x="5258" y="469"/>
                  </a:lnTo>
                  <a:lnTo>
                    <a:pt x="5401" y="467"/>
                  </a:lnTo>
                  <a:lnTo>
                    <a:pt x="5546" y="465"/>
                  </a:lnTo>
                  <a:lnTo>
                    <a:pt x="5690" y="465"/>
                  </a:lnTo>
                  <a:lnTo>
                    <a:pt x="5835" y="467"/>
                  </a:lnTo>
                  <a:lnTo>
                    <a:pt x="5845" y="462"/>
                  </a:lnTo>
                  <a:lnTo>
                    <a:pt x="5855" y="452"/>
                  </a:lnTo>
                  <a:lnTo>
                    <a:pt x="5861" y="438"/>
                  </a:lnTo>
                  <a:lnTo>
                    <a:pt x="5868" y="423"/>
                  </a:lnTo>
                  <a:lnTo>
                    <a:pt x="5872" y="403"/>
                  </a:lnTo>
                  <a:lnTo>
                    <a:pt x="5876" y="382"/>
                  </a:lnTo>
                  <a:lnTo>
                    <a:pt x="5878" y="363"/>
                  </a:lnTo>
                  <a:lnTo>
                    <a:pt x="5878" y="341"/>
                  </a:lnTo>
                  <a:lnTo>
                    <a:pt x="5872" y="291"/>
                  </a:lnTo>
                  <a:lnTo>
                    <a:pt x="5868" y="242"/>
                  </a:lnTo>
                  <a:lnTo>
                    <a:pt x="5866" y="194"/>
                  </a:lnTo>
                  <a:lnTo>
                    <a:pt x="5865" y="147"/>
                  </a:lnTo>
                  <a:lnTo>
                    <a:pt x="5863" y="126"/>
                  </a:lnTo>
                  <a:lnTo>
                    <a:pt x="5861" y="105"/>
                  </a:lnTo>
                  <a:lnTo>
                    <a:pt x="5857" y="85"/>
                  </a:lnTo>
                  <a:lnTo>
                    <a:pt x="5849" y="66"/>
                  </a:lnTo>
                  <a:lnTo>
                    <a:pt x="5843" y="47"/>
                  </a:lnTo>
                  <a:lnTo>
                    <a:pt x="5835" y="31"/>
                  </a:lnTo>
                  <a:lnTo>
                    <a:pt x="5828" y="14"/>
                  </a:lnTo>
                  <a:lnTo>
                    <a:pt x="5820" y="0"/>
                  </a:lnTo>
                  <a:lnTo>
                    <a:pt x="5638" y="8"/>
                  </a:lnTo>
                  <a:lnTo>
                    <a:pt x="5457" y="16"/>
                  </a:lnTo>
                  <a:lnTo>
                    <a:pt x="5277" y="27"/>
                  </a:lnTo>
                  <a:lnTo>
                    <a:pt x="5095" y="41"/>
                  </a:lnTo>
                  <a:lnTo>
                    <a:pt x="4914" y="54"/>
                  </a:lnTo>
                  <a:lnTo>
                    <a:pt x="4732" y="72"/>
                  </a:lnTo>
                  <a:lnTo>
                    <a:pt x="4552" y="89"/>
                  </a:lnTo>
                  <a:lnTo>
                    <a:pt x="4371" y="111"/>
                  </a:lnTo>
                  <a:lnTo>
                    <a:pt x="4189" y="132"/>
                  </a:lnTo>
                  <a:lnTo>
                    <a:pt x="4009" y="155"/>
                  </a:lnTo>
                  <a:lnTo>
                    <a:pt x="3828" y="180"/>
                  </a:lnTo>
                  <a:lnTo>
                    <a:pt x="3648" y="206"/>
                  </a:lnTo>
                  <a:lnTo>
                    <a:pt x="3466" y="233"/>
                  </a:lnTo>
                  <a:lnTo>
                    <a:pt x="3285" y="262"/>
                  </a:lnTo>
                  <a:lnTo>
                    <a:pt x="3105" y="295"/>
                  </a:lnTo>
                  <a:lnTo>
                    <a:pt x="2923" y="326"/>
                  </a:lnTo>
                  <a:lnTo>
                    <a:pt x="2742" y="361"/>
                  </a:lnTo>
                  <a:lnTo>
                    <a:pt x="2562" y="396"/>
                  </a:lnTo>
                  <a:lnTo>
                    <a:pt x="2381" y="434"/>
                  </a:lnTo>
                  <a:lnTo>
                    <a:pt x="2199" y="473"/>
                  </a:lnTo>
                  <a:lnTo>
                    <a:pt x="2019" y="514"/>
                  </a:lnTo>
                  <a:lnTo>
                    <a:pt x="1838" y="555"/>
                  </a:lnTo>
                  <a:lnTo>
                    <a:pt x="1656" y="599"/>
                  </a:lnTo>
                  <a:lnTo>
                    <a:pt x="1476" y="644"/>
                  </a:lnTo>
                  <a:lnTo>
                    <a:pt x="1293" y="690"/>
                  </a:lnTo>
                  <a:lnTo>
                    <a:pt x="1111" y="737"/>
                  </a:lnTo>
                  <a:lnTo>
                    <a:pt x="931" y="787"/>
                  </a:lnTo>
                  <a:lnTo>
                    <a:pt x="748" y="838"/>
                  </a:lnTo>
                  <a:lnTo>
                    <a:pt x="568" y="890"/>
                  </a:lnTo>
                  <a:lnTo>
                    <a:pt x="386" y="944"/>
                  </a:lnTo>
                  <a:lnTo>
                    <a:pt x="204" y="999"/>
                  </a:lnTo>
                  <a:lnTo>
                    <a:pt x="21" y="1055"/>
                  </a:lnTo>
                  <a:lnTo>
                    <a:pt x="17" y="1059"/>
                  </a:lnTo>
                  <a:lnTo>
                    <a:pt x="13" y="1063"/>
                  </a:lnTo>
                  <a:lnTo>
                    <a:pt x="10" y="1068"/>
                  </a:lnTo>
                  <a:lnTo>
                    <a:pt x="8" y="1076"/>
                  </a:lnTo>
                  <a:lnTo>
                    <a:pt x="6" y="1084"/>
                  </a:lnTo>
                  <a:lnTo>
                    <a:pt x="4" y="1094"/>
                  </a:lnTo>
                  <a:lnTo>
                    <a:pt x="2" y="1103"/>
                  </a:lnTo>
                  <a:lnTo>
                    <a:pt x="0" y="1115"/>
                  </a:lnTo>
                  <a:lnTo>
                    <a:pt x="4" y="1136"/>
                  </a:lnTo>
                  <a:lnTo>
                    <a:pt x="8" y="1158"/>
                  </a:lnTo>
                  <a:lnTo>
                    <a:pt x="13" y="1179"/>
                  </a:lnTo>
                  <a:lnTo>
                    <a:pt x="19" y="1200"/>
                  </a:lnTo>
                  <a:lnTo>
                    <a:pt x="25" y="1222"/>
                  </a:lnTo>
                  <a:lnTo>
                    <a:pt x="33" y="1241"/>
                  </a:lnTo>
                  <a:lnTo>
                    <a:pt x="41" y="1258"/>
                  </a:lnTo>
                  <a:lnTo>
                    <a:pt x="50" y="1278"/>
                  </a:lnTo>
                  <a:lnTo>
                    <a:pt x="60" y="1295"/>
                  </a:lnTo>
                  <a:lnTo>
                    <a:pt x="70" y="1311"/>
                  </a:lnTo>
                  <a:lnTo>
                    <a:pt x="81" y="1326"/>
                  </a:lnTo>
                  <a:lnTo>
                    <a:pt x="95" y="1342"/>
                  </a:lnTo>
                  <a:lnTo>
                    <a:pt x="108" y="1353"/>
                  </a:lnTo>
                  <a:lnTo>
                    <a:pt x="122" y="1367"/>
                  </a:lnTo>
                  <a:lnTo>
                    <a:pt x="138" y="1379"/>
                  </a:lnTo>
                  <a:lnTo>
                    <a:pt x="155" y="1390"/>
                  </a:lnTo>
                  <a:lnTo>
                    <a:pt x="155" y="1390"/>
                  </a:lnTo>
                  <a:lnTo>
                    <a:pt x="155" y="139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endParaRPr lang="de-DE">
                <a:latin typeface="NeulandFontEuro"/>
                <a:sym typeface="NeulandFontEuro"/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2DA3E15-2D16-4B66-86C8-DC4640C7A43D}"/>
                </a:ext>
              </a:extLst>
            </p:cNvPr>
            <p:cNvGrpSpPr/>
            <p:nvPr/>
          </p:nvGrpSpPr>
          <p:grpSpPr>
            <a:xfrm>
              <a:off x="8635894" y="3254911"/>
              <a:ext cx="386680" cy="422735"/>
              <a:chOff x="739912" y="2595921"/>
              <a:chExt cx="386680" cy="422735"/>
            </a:xfrm>
            <a:solidFill>
              <a:schemeClr val="tx2"/>
            </a:solidFill>
          </p:grpSpPr>
          <p:sp>
            <p:nvSpPr>
              <p:cNvPr id="12" name="Freeform 42">
                <a:extLst>
                  <a:ext uri="{FF2B5EF4-FFF2-40B4-BE49-F238E27FC236}">
                    <a16:creationId xmlns:a16="http://schemas.microsoft.com/office/drawing/2014/main" id="{723CADE1-3F63-454C-BF1D-8B658F15CF1F}"/>
                  </a:ext>
                </a:extLst>
              </p:cNvPr>
              <p:cNvSpPr>
                <a:spLocks/>
              </p:cNvSpPr>
              <p:nvPr/>
            </p:nvSpPr>
            <p:spPr bwMode="gray">
              <a:xfrm rot="18057472">
                <a:off x="567887" y="2767946"/>
                <a:ext cx="422735" cy="78686"/>
              </a:xfrm>
              <a:custGeom>
                <a:avLst/>
                <a:gdLst>
                  <a:gd name="T0" fmla="*/ 0 w 642"/>
                  <a:gd name="T1" fmla="*/ 36 h 51"/>
                  <a:gd name="T2" fmla="*/ 77 w 642"/>
                  <a:gd name="T3" fmla="*/ 51 h 51"/>
                  <a:gd name="T4" fmla="*/ 642 w 642"/>
                  <a:gd name="T5" fmla="*/ 4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42" h="51">
                    <a:moveTo>
                      <a:pt x="0" y="36"/>
                    </a:moveTo>
                    <a:cubicBezTo>
                      <a:pt x="25" y="41"/>
                      <a:pt x="51" y="51"/>
                      <a:pt x="77" y="51"/>
                    </a:cubicBezTo>
                    <a:cubicBezTo>
                      <a:pt x="258" y="51"/>
                      <a:pt x="487" y="0"/>
                      <a:pt x="642" y="43"/>
                    </a:cubicBezTo>
                  </a:path>
                </a:pathLst>
              </a:custGeom>
              <a:grpFill/>
              <a:ln w="76200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de-DE">
                  <a:latin typeface="NeulandFontEuro"/>
                  <a:sym typeface="NeulandFontEuro"/>
                </a:endParaRPr>
              </a:p>
            </p:txBody>
          </p:sp>
          <p:sp>
            <p:nvSpPr>
              <p:cNvPr id="13" name="Freeform 45">
                <a:extLst>
                  <a:ext uri="{FF2B5EF4-FFF2-40B4-BE49-F238E27FC236}">
                    <a16:creationId xmlns:a16="http://schemas.microsoft.com/office/drawing/2014/main" id="{72BA3535-0059-4475-A6CE-85BD5AFC769F}"/>
                  </a:ext>
                </a:extLst>
              </p:cNvPr>
              <p:cNvSpPr>
                <a:spLocks/>
              </p:cNvSpPr>
              <p:nvPr/>
            </p:nvSpPr>
            <p:spPr bwMode="gray">
              <a:xfrm rot="18057472">
                <a:off x="856717" y="2614417"/>
                <a:ext cx="244475" cy="295275"/>
              </a:xfrm>
              <a:custGeom>
                <a:avLst/>
                <a:gdLst>
                  <a:gd name="T0" fmla="*/ 171 w 233"/>
                  <a:gd name="T1" fmla="*/ 0 h 283"/>
                  <a:gd name="T2" fmla="*/ 0 w 233"/>
                  <a:gd name="T3" fmla="*/ 283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3" h="283">
                    <a:moveTo>
                      <a:pt x="171" y="0"/>
                    </a:moveTo>
                    <a:cubicBezTo>
                      <a:pt x="233" y="45"/>
                      <a:pt x="29" y="236"/>
                      <a:pt x="0" y="283"/>
                    </a:cubicBezTo>
                  </a:path>
                </a:pathLst>
              </a:custGeom>
              <a:grpFill/>
              <a:ln w="76200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de-DE">
                  <a:latin typeface="NeulandFontEuro"/>
                  <a:sym typeface="NeulandFontEuro"/>
                </a:endParaRPr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7FA2102-E762-4E41-8929-B8602568AA27}"/>
              </a:ext>
            </a:extLst>
          </p:cNvPr>
          <p:cNvGrpSpPr/>
          <p:nvPr/>
        </p:nvGrpSpPr>
        <p:grpSpPr>
          <a:xfrm rot="18242380" flipV="1">
            <a:off x="2041683" y="2481742"/>
            <a:ext cx="536797" cy="759677"/>
            <a:chOff x="8618861" y="3254911"/>
            <a:chExt cx="403713" cy="572784"/>
          </a:xfrm>
        </p:grpSpPr>
        <p:sp>
          <p:nvSpPr>
            <p:cNvPr id="15" name="Freeform 22">
              <a:extLst>
                <a:ext uri="{FF2B5EF4-FFF2-40B4-BE49-F238E27FC236}">
                  <a16:creationId xmlns:a16="http://schemas.microsoft.com/office/drawing/2014/main" id="{D38D061F-6708-414B-93E3-4D883C05249C}"/>
                </a:ext>
              </a:extLst>
            </p:cNvPr>
            <p:cNvSpPr>
              <a:spLocks/>
            </p:cNvSpPr>
            <p:nvPr/>
          </p:nvSpPr>
          <p:spPr bwMode="gray">
            <a:xfrm rot="4080801" flipH="1">
              <a:off x="8501472" y="3430906"/>
              <a:ext cx="514178" cy="279400"/>
            </a:xfrm>
            <a:custGeom>
              <a:avLst/>
              <a:gdLst>
                <a:gd name="T0" fmla="*/ 159 w 5878"/>
                <a:gd name="T1" fmla="*/ 1390 h 1390"/>
                <a:gd name="T2" fmla="*/ 238 w 5878"/>
                <a:gd name="T3" fmla="*/ 1330 h 1390"/>
                <a:gd name="T4" fmla="*/ 324 w 5878"/>
                <a:gd name="T5" fmla="*/ 1307 h 1390"/>
                <a:gd name="T6" fmla="*/ 409 w 5878"/>
                <a:gd name="T7" fmla="*/ 1280 h 1390"/>
                <a:gd name="T8" fmla="*/ 496 w 5878"/>
                <a:gd name="T9" fmla="*/ 1255 h 1390"/>
                <a:gd name="T10" fmla="*/ 582 w 5878"/>
                <a:gd name="T11" fmla="*/ 1227 h 1390"/>
                <a:gd name="T12" fmla="*/ 667 w 5878"/>
                <a:gd name="T13" fmla="*/ 1200 h 1390"/>
                <a:gd name="T14" fmla="*/ 754 w 5878"/>
                <a:gd name="T15" fmla="*/ 1173 h 1390"/>
                <a:gd name="T16" fmla="*/ 838 w 5878"/>
                <a:gd name="T17" fmla="*/ 1146 h 1390"/>
                <a:gd name="T18" fmla="*/ 925 w 5878"/>
                <a:gd name="T19" fmla="*/ 1121 h 1390"/>
                <a:gd name="T20" fmla="*/ 1010 w 5878"/>
                <a:gd name="T21" fmla="*/ 1097 h 1390"/>
                <a:gd name="T22" fmla="*/ 1096 w 5878"/>
                <a:gd name="T23" fmla="*/ 1076 h 1390"/>
                <a:gd name="T24" fmla="*/ 1299 w 5878"/>
                <a:gd name="T25" fmla="*/ 1024 h 1390"/>
                <a:gd name="T26" fmla="*/ 1738 w 5878"/>
                <a:gd name="T27" fmla="*/ 919 h 1390"/>
                <a:gd name="T28" fmla="*/ 2178 w 5878"/>
                <a:gd name="T29" fmla="*/ 824 h 1390"/>
                <a:gd name="T30" fmla="*/ 2620 w 5878"/>
                <a:gd name="T31" fmla="*/ 739 h 1390"/>
                <a:gd name="T32" fmla="*/ 3060 w 5878"/>
                <a:gd name="T33" fmla="*/ 665 h 1390"/>
                <a:gd name="T34" fmla="*/ 3502 w 5878"/>
                <a:gd name="T35" fmla="*/ 603 h 1390"/>
                <a:gd name="T36" fmla="*/ 3943 w 5878"/>
                <a:gd name="T37" fmla="*/ 553 h 1390"/>
                <a:gd name="T38" fmla="*/ 4383 w 5878"/>
                <a:gd name="T39" fmla="*/ 514 h 1390"/>
                <a:gd name="T40" fmla="*/ 4821 w 5878"/>
                <a:gd name="T41" fmla="*/ 487 h 1390"/>
                <a:gd name="T42" fmla="*/ 5258 w 5878"/>
                <a:gd name="T43" fmla="*/ 469 h 1390"/>
                <a:gd name="T44" fmla="*/ 5690 w 5878"/>
                <a:gd name="T45" fmla="*/ 465 h 1390"/>
                <a:gd name="T46" fmla="*/ 5855 w 5878"/>
                <a:gd name="T47" fmla="*/ 452 h 1390"/>
                <a:gd name="T48" fmla="*/ 5872 w 5878"/>
                <a:gd name="T49" fmla="*/ 403 h 1390"/>
                <a:gd name="T50" fmla="*/ 5878 w 5878"/>
                <a:gd name="T51" fmla="*/ 341 h 1390"/>
                <a:gd name="T52" fmla="*/ 5866 w 5878"/>
                <a:gd name="T53" fmla="*/ 194 h 1390"/>
                <a:gd name="T54" fmla="*/ 5861 w 5878"/>
                <a:gd name="T55" fmla="*/ 105 h 1390"/>
                <a:gd name="T56" fmla="*/ 5843 w 5878"/>
                <a:gd name="T57" fmla="*/ 47 h 1390"/>
                <a:gd name="T58" fmla="*/ 5820 w 5878"/>
                <a:gd name="T59" fmla="*/ 0 h 1390"/>
                <a:gd name="T60" fmla="*/ 5277 w 5878"/>
                <a:gd name="T61" fmla="*/ 27 h 1390"/>
                <a:gd name="T62" fmla="*/ 4732 w 5878"/>
                <a:gd name="T63" fmla="*/ 72 h 1390"/>
                <a:gd name="T64" fmla="*/ 4189 w 5878"/>
                <a:gd name="T65" fmla="*/ 132 h 1390"/>
                <a:gd name="T66" fmla="*/ 3648 w 5878"/>
                <a:gd name="T67" fmla="*/ 206 h 1390"/>
                <a:gd name="T68" fmla="*/ 3105 w 5878"/>
                <a:gd name="T69" fmla="*/ 295 h 1390"/>
                <a:gd name="T70" fmla="*/ 2562 w 5878"/>
                <a:gd name="T71" fmla="*/ 396 h 1390"/>
                <a:gd name="T72" fmla="*/ 2019 w 5878"/>
                <a:gd name="T73" fmla="*/ 514 h 1390"/>
                <a:gd name="T74" fmla="*/ 1476 w 5878"/>
                <a:gd name="T75" fmla="*/ 644 h 1390"/>
                <a:gd name="T76" fmla="*/ 931 w 5878"/>
                <a:gd name="T77" fmla="*/ 787 h 1390"/>
                <a:gd name="T78" fmla="*/ 386 w 5878"/>
                <a:gd name="T79" fmla="*/ 944 h 1390"/>
                <a:gd name="T80" fmla="*/ 17 w 5878"/>
                <a:gd name="T81" fmla="*/ 1059 h 1390"/>
                <a:gd name="T82" fmla="*/ 8 w 5878"/>
                <a:gd name="T83" fmla="*/ 1076 h 1390"/>
                <a:gd name="T84" fmla="*/ 2 w 5878"/>
                <a:gd name="T85" fmla="*/ 1103 h 1390"/>
                <a:gd name="T86" fmla="*/ 8 w 5878"/>
                <a:gd name="T87" fmla="*/ 1158 h 1390"/>
                <a:gd name="T88" fmla="*/ 25 w 5878"/>
                <a:gd name="T89" fmla="*/ 1222 h 1390"/>
                <a:gd name="T90" fmla="*/ 50 w 5878"/>
                <a:gd name="T91" fmla="*/ 1278 h 1390"/>
                <a:gd name="T92" fmla="*/ 81 w 5878"/>
                <a:gd name="T93" fmla="*/ 1326 h 1390"/>
                <a:gd name="T94" fmla="*/ 122 w 5878"/>
                <a:gd name="T95" fmla="*/ 1367 h 1390"/>
                <a:gd name="T96" fmla="*/ 155 w 5878"/>
                <a:gd name="T97" fmla="*/ 1390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78" h="1390">
                  <a:moveTo>
                    <a:pt x="155" y="1390"/>
                  </a:moveTo>
                  <a:lnTo>
                    <a:pt x="157" y="1390"/>
                  </a:lnTo>
                  <a:lnTo>
                    <a:pt x="159" y="1390"/>
                  </a:lnTo>
                  <a:lnTo>
                    <a:pt x="163" y="1390"/>
                  </a:lnTo>
                  <a:lnTo>
                    <a:pt x="163" y="1390"/>
                  </a:lnTo>
                  <a:lnTo>
                    <a:pt x="238" y="1330"/>
                  </a:lnTo>
                  <a:lnTo>
                    <a:pt x="266" y="1322"/>
                  </a:lnTo>
                  <a:lnTo>
                    <a:pt x="295" y="1313"/>
                  </a:lnTo>
                  <a:lnTo>
                    <a:pt x="324" y="1307"/>
                  </a:lnTo>
                  <a:lnTo>
                    <a:pt x="353" y="1297"/>
                  </a:lnTo>
                  <a:lnTo>
                    <a:pt x="380" y="1289"/>
                  </a:lnTo>
                  <a:lnTo>
                    <a:pt x="409" y="1280"/>
                  </a:lnTo>
                  <a:lnTo>
                    <a:pt x="438" y="1272"/>
                  </a:lnTo>
                  <a:lnTo>
                    <a:pt x="467" y="1262"/>
                  </a:lnTo>
                  <a:lnTo>
                    <a:pt x="496" y="1255"/>
                  </a:lnTo>
                  <a:lnTo>
                    <a:pt x="524" y="1245"/>
                  </a:lnTo>
                  <a:lnTo>
                    <a:pt x="553" y="1235"/>
                  </a:lnTo>
                  <a:lnTo>
                    <a:pt x="582" y="1227"/>
                  </a:lnTo>
                  <a:lnTo>
                    <a:pt x="611" y="1218"/>
                  </a:lnTo>
                  <a:lnTo>
                    <a:pt x="638" y="1208"/>
                  </a:lnTo>
                  <a:lnTo>
                    <a:pt x="667" y="1200"/>
                  </a:lnTo>
                  <a:lnTo>
                    <a:pt x="696" y="1191"/>
                  </a:lnTo>
                  <a:lnTo>
                    <a:pt x="723" y="1181"/>
                  </a:lnTo>
                  <a:lnTo>
                    <a:pt x="754" y="1173"/>
                  </a:lnTo>
                  <a:lnTo>
                    <a:pt x="781" y="1163"/>
                  </a:lnTo>
                  <a:lnTo>
                    <a:pt x="811" y="1156"/>
                  </a:lnTo>
                  <a:lnTo>
                    <a:pt x="838" y="1146"/>
                  </a:lnTo>
                  <a:lnTo>
                    <a:pt x="867" y="1138"/>
                  </a:lnTo>
                  <a:lnTo>
                    <a:pt x="896" y="1128"/>
                  </a:lnTo>
                  <a:lnTo>
                    <a:pt x="925" y="1121"/>
                  </a:lnTo>
                  <a:lnTo>
                    <a:pt x="952" y="1113"/>
                  </a:lnTo>
                  <a:lnTo>
                    <a:pt x="981" y="1105"/>
                  </a:lnTo>
                  <a:lnTo>
                    <a:pt x="1010" y="1097"/>
                  </a:lnTo>
                  <a:lnTo>
                    <a:pt x="1039" y="1090"/>
                  </a:lnTo>
                  <a:lnTo>
                    <a:pt x="1068" y="1082"/>
                  </a:lnTo>
                  <a:lnTo>
                    <a:pt x="1096" y="1076"/>
                  </a:lnTo>
                  <a:lnTo>
                    <a:pt x="1125" y="1068"/>
                  </a:lnTo>
                  <a:lnTo>
                    <a:pt x="1154" y="1063"/>
                  </a:lnTo>
                  <a:lnTo>
                    <a:pt x="1299" y="1024"/>
                  </a:lnTo>
                  <a:lnTo>
                    <a:pt x="1445" y="989"/>
                  </a:lnTo>
                  <a:lnTo>
                    <a:pt x="1592" y="952"/>
                  </a:lnTo>
                  <a:lnTo>
                    <a:pt x="1738" y="919"/>
                  </a:lnTo>
                  <a:lnTo>
                    <a:pt x="1885" y="886"/>
                  </a:lnTo>
                  <a:lnTo>
                    <a:pt x="2032" y="853"/>
                  </a:lnTo>
                  <a:lnTo>
                    <a:pt x="2178" y="824"/>
                  </a:lnTo>
                  <a:lnTo>
                    <a:pt x="2325" y="793"/>
                  </a:lnTo>
                  <a:lnTo>
                    <a:pt x="2473" y="766"/>
                  </a:lnTo>
                  <a:lnTo>
                    <a:pt x="2620" y="739"/>
                  </a:lnTo>
                  <a:lnTo>
                    <a:pt x="2767" y="714"/>
                  </a:lnTo>
                  <a:lnTo>
                    <a:pt x="2915" y="688"/>
                  </a:lnTo>
                  <a:lnTo>
                    <a:pt x="3060" y="665"/>
                  </a:lnTo>
                  <a:lnTo>
                    <a:pt x="3208" y="644"/>
                  </a:lnTo>
                  <a:lnTo>
                    <a:pt x="3355" y="622"/>
                  </a:lnTo>
                  <a:lnTo>
                    <a:pt x="3502" y="603"/>
                  </a:lnTo>
                  <a:lnTo>
                    <a:pt x="3650" y="586"/>
                  </a:lnTo>
                  <a:lnTo>
                    <a:pt x="3795" y="568"/>
                  </a:lnTo>
                  <a:lnTo>
                    <a:pt x="3943" y="553"/>
                  </a:lnTo>
                  <a:lnTo>
                    <a:pt x="4090" y="539"/>
                  </a:lnTo>
                  <a:lnTo>
                    <a:pt x="4235" y="525"/>
                  </a:lnTo>
                  <a:lnTo>
                    <a:pt x="4383" y="514"/>
                  </a:lnTo>
                  <a:lnTo>
                    <a:pt x="4528" y="502"/>
                  </a:lnTo>
                  <a:lnTo>
                    <a:pt x="4676" y="494"/>
                  </a:lnTo>
                  <a:lnTo>
                    <a:pt x="4821" y="487"/>
                  </a:lnTo>
                  <a:lnTo>
                    <a:pt x="4967" y="479"/>
                  </a:lnTo>
                  <a:lnTo>
                    <a:pt x="5112" y="475"/>
                  </a:lnTo>
                  <a:lnTo>
                    <a:pt x="5258" y="469"/>
                  </a:lnTo>
                  <a:lnTo>
                    <a:pt x="5401" y="467"/>
                  </a:lnTo>
                  <a:lnTo>
                    <a:pt x="5546" y="465"/>
                  </a:lnTo>
                  <a:lnTo>
                    <a:pt x="5690" y="465"/>
                  </a:lnTo>
                  <a:lnTo>
                    <a:pt x="5835" y="467"/>
                  </a:lnTo>
                  <a:lnTo>
                    <a:pt x="5845" y="462"/>
                  </a:lnTo>
                  <a:lnTo>
                    <a:pt x="5855" y="452"/>
                  </a:lnTo>
                  <a:lnTo>
                    <a:pt x="5861" y="438"/>
                  </a:lnTo>
                  <a:lnTo>
                    <a:pt x="5868" y="423"/>
                  </a:lnTo>
                  <a:lnTo>
                    <a:pt x="5872" y="403"/>
                  </a:lnTo>
                  <a:lnTo>
                    <a:pt x="5876" y="382"/>
                  </a:lnTo>
                  <a:lnTo>
                    <a:pt x="5878" y="363"/>
                  </a:lnTo>
                  <a:lnTo>
                    <a:pt x="5878" y="341"/>
                  </a:lnTo>
                  <a:lnTo>
                    <a:pt x="5872" y="291"/>
                  </a:lnTo>
                  <a:lnTo>
                    <a:pt x="5868" y="242"/>
                  </a:lnTo>
                  <a:lnTo>
                    <a:pt x="5866" y="194"/>
                  </a:lnTo>
                  <a:lnTo>
                    <a:pt x="5865" y="147"/>
                  </a:lnTo>
                  <a:lnTo>
                    <a:pt x="5863" y="126"/>
                  </a:lnTo>
                  <a:lnTo>
                    <a:pt x="5861" y="105"/>
                  </a:lnTo>
                  <a:lnTo>
                    <a:pt x="5857" y="85"/>
                  </a:lnTo>
                  <a:lnTo>
                    <a:pt x="5849" y="66"/>
                  </a:lnTo>
                  <a:lnTo>
                    <a:pt x="5843" y="47"/>
                  </a:lnTo>
                  <a:lnTo>
                    <a:pt x="5835" y="31"/>
                  </a:lnTo>
                  <a:lnTo>
                    <a:pt x="5828" y="14"/>
                  </a:lnTo>
                  <a:lnTo>
                    <a:pt x="5820" y="0"/>
                  </a:lnTo>
                  <a:lnTo>
                    <a:pt x="5638" y="8"/>
                  </a:lnTo>
                  <a:lnTo>
                    <a:pt x="5457" y="16"/>
                  </a:lnTo>
                  <a:lnTo>
                    <a:pt x="5277" y="27"/>
                  </a:lnTo>
                  <a:lnTo>
                    <a:pt x="5095" y="41"/>
                  </a:lnTo>
                  <a:lnTo>
                    <a:pt x="4914" y="54"/>
                  </a:lnTo>
                  <a:lnTo>
                    <a:pt x="4732" y="72"/>
                  </a:lnTo>
                  <a:lnTo>
                    <a:pt x="4552" y="89"/>
                  </a:lnTo>
                  <a:lnTo>
                    <a:pt x="4371" y="111"/>
                  </a:lnTo>
                  <a:lnTo>
                    <a:pt x="4189" y="132"/>
                  </a:lnTo>
                  <a:lnTo>
                    <a:pt x="4009" y="155"/>
                  </a:lnTo>
                  <a:lnTo>
                    <a:pt x="3828" y="180"/>
                  </a:lnTo>
                  <a:lnTo>
                    <a:pt x="3648" y="206"/>
                  </a:lnTo>
                  <a:lnTo>
                    <a:pt x="3466" y="233"/>
                  </a:lnTo>
                  <a:lnTo>
                    <a:pt x="3285" y="262"/>
                  </a:lnTo>
                  <a:lnTo>
                    <a:pt x="3105" y="295"/>
                  </a:lnTo>
                  <a:lnTo>
                    <a:pt x="2923" y="326"/>
                  </a:lnTo>
                  <a:lnTo>
                    <a:pt x="2742" y="361"/>
                  </a:lnTo>
                  <a:lnTo>
                    <a:pt x="2562" y="396"/>
                  </a:lnTo>
                  <a:lnTo>
                    <a:pt x="2381" y="434"/>
                  </a:lnTo>
                  <a:lnTo>
                    <a:pt x="2199" y="473"/>
                  </a:lnTo>
                  <a:lnTo>
                    <a:pt x="2019" y="514"/>
                  </a:lnTo>
                  <a:lnTo>
                    <a:pt x="1838" y="555"/>
                  </a:lnTo>
                  <a:lnTo>
                    <a:pt x="1656" y="599"/>
                  </a:lnTo>
                  <a:lnTo>
                    <a:pt x="1476" y="644"/>
                  </a:lnTo>
                  <a:lnTo>
                    <a:pt x="1293" y="690"/>
                  </a:lnTo>
                  <a:lnTo>
                    <a:pt x="1111" y="737"/>
                  </a:lnTo>
                  <a:lnTo>
                    <a:pt x="931" y="787"/>
                  </a:lnTo>
                  <a:lnTo>
                    <a:pt x="748" y="838"/>
                  </a:lnTo>
                  <a:lnTo>
                    <a:pt x="568" y="890"/>
                  </a:lnTo>
                  <a:lnTo>
                    <a:pt x="386" y="944"/>
                  </a:lnTo>
                  <a:lnTo>
                    <a:pt x="204" y="999"/>
                  </a:lnTo>
                  <a:lnTo>
                    <a:pt x="21" y="1055"/>
                  </a:lnTo>
                  <a:lnTo>
                    <a:pt x="17" y="1059"/>
                  </a:lnTo>
                  <a:lnTo>
                    <a:pt x="13" y="1063"/>
                  </a:lnTo>
                  <a:lnTo>
                    <a:pt x="10" y="1068"/>
                  </a:lnTo>
                  <a:lnTo>
                    <a:pt x="8" y="1076"/>
                  </a:lnTo>
                  <a:lnTo>
                    <a:pt x="6" y="1084"/>
                  </a:lnTo>
                  <a:lnTo>
                    <a:pt x="4" y="1094"/>
                  </a:lnTo>
                  <a:lnTo>
                    <a:pt x="2" y="1103"/>
                  </a:lnTo>
                  <a:lnTo>
                    <a:pt x="0" y="1115"/>
                  </a:lnTo>
                  <a:lnTo>
                    <a:pt x="4" y="1136"/>
                  </a:lnTo>
                  <a:lnTo>
                    <a:pt x="8" y="1158"/>
                  </a:lnTo>
                  <a:lnTo>
                    <a:pt x="13" y="1179"/>
                  </a:lnTo>
                  <a:lnTo>
                    <a:pt x="19" y="1200"/>
                  </a:lnTo>
                  <a:lnTo>
                    <a:pt x="25" y="1222"/>
                  </a:lnTo>
                  <a:lnTo>
                    <a:pt x="33" y="1241"/>
                  </a:lnTo>
                  <a:lnTo>
                    <a:pt x="41" y="1258"/>
                  </a:lnTo>
                  <a:lnTo>
                    <a:pt x="50" y="1278"/>
                  </a:lnTo>
                  <a:lnTo>
                    <a:pt x="60" y="1295"/>
                  </a:lnTo>
                  <a:lnTo>
                    <a:pt x="70" y="1311"/>
                  </a:lnTo>
                  <a:lnTo>
                    <a:pt x="81" y="1326"/>
                  </a:lnTo>
                  <a:lnTo>
                    <a:pt x="95" y="1342"/>
                  </a:lnTo>
                  <a:lnTo>
                    <a:pt x="108" y="1353"/>
                  </a:lnTo>
                  <a:lnTo>
                    <a:pt x="122" y="1367"/>
                  </a:lnTo>
                  <a:lnTo>
                    <a:pt x="138" y="1379"/>
                  </a:lnTo>
                  <a:lnTo>
                    <a:pt x="155" y="1390"/>
                  </a:lnTo>
                  <a:lnTo>
                    <a:pt x="155" y="1390"/>
                  </a:lnTo>
                  <a:lnTo>
                    <a:pt x="155" y="139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endParaRPr lang="de-DE">
                <a:latin typeface="NeulandFontEuro"/>
                <a:sym typeface="NeulandFontEuro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973BCC3-3862-492E-8E3C-71A117BF0A0D}"/>
                </a:ext>
              </a:extLst>
            </p:cNvPr>
            <p:cNvGrpSpPr/>
            <p:nvPr/>
          </p:nvGrpSpPr>
          <p:grpSpPr>
            <a:xfrm>
              <a:off x="8635894" y="3254911"/>
              <a:ext cx="386680" cy="422735"/>
              <a:chOff x="739912" y="2595921"/>
              <a:chExt cx="386680" cy="422735"/>
            </a:xfrm>
            <a:solidFill>
              <a:schemeClr val="tx2"/>
            </a:solidFill>
          </p:grpSpPr>
          <p:sp>
            <p:nvSpPr>
              <p:cNvPr id="17" name="Freeform 42">
                <a:extLst>
                  <a:ext uri="{FF2B5EF4-FFF2-40B4-BE49-F238E27FC236}">
                    <a16:creationId xmlns:a16="http://schemas.microsoft.com/office/drawing/2014/main" id="{0D821554-34F7-4529-9DD1-936C3BC196BC}"/>
                  </a:ext>
                </a:extLst>
              </p:cNvPr>
              <p:cNvSpPr>
                <a:spLocks/>
              </p:cNvSpPr>
              <p:nvPr/>
            </p:nvSpPr>
            <p:spPr bwMode="gray">
              <a:xfrm rot="18057472">
                <a:off x="567887" y="2767946"/>
                <a:ext cx="422735" cy="78686"/>
              </a:xfrm>
              <a:custGeom>
                <a:avLst/>
                <a:gdLst>
                  <a:gd name="T0" fmla="*/ 0 w 642"/>
                  <a:gd name="T1" fmla="*/ 36 h 51"/>
                  <a:gd name="T2" fmla="*/ 77 w 642"/>
                  <a:gd name="T3" fmla="*/ 51 h 51"/>
                  <a:gd name="T4" fmla="*/ 642 w 642"/>
                  <a:gd name="T5" fmla="*/ 4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42" h="51">
                    <a:moveTo>
                      <a:pt x="0" y="36"/>
                    </a:moveTo>
                    <a:cubicBezTo>
                      <a:pt x="25" y="41"/>
                      <a:pt x="51" y="51"/>
                      <a:pt x="77" y="51"/>
                    </a:cubicBezTo>
                    <a:cubicBezTo>
                      <a:pt x="258" y="51"/>
                      <a:pt x="487" y="0"/>
                      <a:pt x="642" y="43"/>
                    </a:cubicBezTo>
                  </a:path>
                </a:pathLst>
              </a:custGeom>
              <a:grpFill/>
              <a:ln w="76200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de-DE">
                  <a:latin typeface="NeulandFontEuro"/>
                  <a:sym typeface="NeulandFontEuro"/>
                </a:endParaRPr>
              </a:p>
            </p:txBody>
          </p:sp>
          <p:sp>
            <p:nvSpPr>
              <p:cNvPr id="18" name="Freeform 45">
                <a:extLst>
                  <a:ext uri="{FF2B5EF4-FFF2-40B4-BE49-F238E27FC236}">
                    <a16:creationId xmlns:a16="http://schemas.microsoft.com/office/drawing/2014/main" id="{457471C8-C15E-4095-A006-1B7B39F3C053}"/>
                  </a:ext>
                </a:extLst>
              </p:cNvPr>
              <p:cNvSpPr>
                <a:spLocks/>
              </p:cNvSpPr>
              <p:nvPr/>
            </p:nvSpPr>
            <p:spPr bwMode="gray">
              <a:xfrm rot="18057472">
                <a:off x="856717" y="2614417"/>
                <a:ext cx="244475" cy="295275"/>
              </a:xfrm>
              <a:custGeom>
                <a:avLst/>
                <a:gdLst>
                  <a:gd name="T0" fmla="*/ 171 w 233"/>
                  <a:gd name="T1" fmla="*/ 0 h 283"/>
                  <a:gd name="T2" fmla="*/ 0 w 233"/>
                  <a:gd name="T3" fmla="*/ 283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3" h="283">
                    <a:moveTo>
                      <a:pt x="171" y="0"/>
                    </a:moveTo>
                    <a:cubicBezTo>
                      <a:pt x="233" y="45"/>
                      <a:pt x="29" y="236"/>
                      <a:pt x="0" y="283"/>
                    </a:cubicBezTo>
                  </a:path>
                </a:pathLst>
              </a:custGeom>
              <a:grpFill/>
              <a:ln w="76200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de-DE">
                  <a:latin typeface="NeulandFontEuro"/>
                  <a:sym typeface="NeulandFontEuro"/>
                </a:endParaRPr>
              </a:p>
            </p:txBody>
          </p:sp>
        </p:grp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3B4D6DB-D426-4259-A8E5-6F50B2DDB90E}"/>
              </a:ext>
            </a:extLst>
          </p:cNvPr>
          <p:cNvGrpSpPr/>
          <p:nvPr/>
        </p:nvGrpSpPr>
        <p:grpSpPr>
          <a:xfrm>
            <a:off x="3613953" y="3599630"/>
            <a:ext cx="1643569" cy="2319770"/>
            <a:chOff x="3613953" y="2845400"/>
            <a:chExt cx="1643569" cy="2319770"/>
          </a:xfrm>
          <a:solidFill>
            <a:schemeClr val="accent5"/>
          </a:solidFill>
        </p:grpSpPr>
        <p:sp>
          <p:nvSpPr>
            <p:cNvPr id="30" name="Freeform 22">
              <a:extLst>
                <a:ext uri="{FF2B5EF4-FFF2-40B4-BE49-F238E27FC236}">
                  <a16:creationId xmlns:a16="http://schemas.microsoft.com/office/drawing/2014/main" id="{5E195F85-5DE6-43B4-91E8-03795F2E4CDD}"/>
                </a:ext>
              </a:extLst>
            </p:cNvPr>
            <p:cNvSpPr>
              <a:spLocks/>
            </p:cNvSpPr>
            <p:nvPr/>
          </p:nvSpPr>
          <p:spPr bwMode="gray">
            <a:xfrm rot="15608801" flipH="1">
              <a:off x="2810732" y="3871145"/>
              <a:ext cx="1977945" cy="371504"/>
            </a:xfrm>
            <a:custGeom>
              <a:avLst/>
              <a:gdLst>
                <a:gd name="T0" fmla="*/ 159 w 5878"/>
                <a:gd name="T1" fmla="*/ 1390 h 1390"/>
                <a:gd name="T2" fmla="*/ 238 w 5878"/>
                <a:gd name="T3" fmla="*/ 1330 h 1390"/>
                <a:gd name="T4" fmla="*/ 324 w 5878"/>
                <a:gd name="T5" fmla="*/ 1307 h 1390"/>
                <a:gd name="T6" fmla="*/ 409 w 5878"/>
                <a:gd name="T7" fmla="*/ 1280 h 1390"/>
                <a:gd name="T8" fmla="*/ 496 w 5878"/>
                <a:gd name="T9" fmla="*/ 1255 h 1390"/>
                <a:gd name="T10" fmla="*/ 582 w 5878"/>
                <a:gd name="T11" fmla="*/ 1227 h 1390"/>
                <a:gd name="T12" fmla="*/ 667 w 5878"/>
                <a:gd name="T13" fmla="*/ 1200 h 1390"/>
                <a:gd name="T14" fmla="*/ 754 w 5878"/>
                <a:gd name="T15" fmla="*/ 1173 h 1390"/>
                <a:gd name="T16" fmla="*/ 838 w 5878"/>
                <a:gd name="T17" fmla="*/ 1146 h 1390"/>
                <a:gd name="T18" fmla="*/ 925 w 5878"/>
                <a:gd name="T19" fmla="*/ 1121 h 1390"/>
                <a:gd name="T20" fmla="*/ 1010 w 5878"/>
                <a:gd name="T21" fmla="*/ 1097 h 1390"/>
                <a:gd name="T22" fmla="*/ 1096 w 5878"/>
                <a:gd name="T23" fmla="*/ 1076 h 1390"/>
                <a:gd name="T24" fmla="*/ 1299 w 5878"/>
                <a:gd name="T25" fmla="*/ 1024 h 1390"/>
                <a:gd name="T26" fmla="*/ 1738 w 5878"/>
                <a:gd name="T27" fmla="*/ 919 h 1390"/>
                <a:gd name="T28" fmla="*/ 2178 w 5878"/>
                <a:gd name="T29" fmla="*/ 824 h 1390"/>
                <a:gd name="T30" fmla="*/ 2620 w 5878"/>
                <a:gd name="T31" fmla="*/ 739 h 1390"/>
                <a:gd name="T32" fmla="*/ 3060 w 5878"/>
                <a:gd name="T33" fmla="*/ 665 h 1390"/>
                <a:gd name="T34" fmla="*/ 3502 w 5878"/>
                <a:gd name="T35" fmla="*/ 603 h 1390"/>
                <a:gd name="T36" fmla="*/ 3943 w 5878"/>
                <a:gd name="T37" fmla="*/ 553 h 1390"/>
                <a:gd name="T38" fmla="*/ 4383 w 5878"/>
                <a:gd name="T39" fmla="*/ 514 h 1390"/>
                <a:gd name="T40" fmla="*/ 4821 w 5878"/>
                <a:gd name="T41" fmla="*/ 487 h 1390"/>
                <a:gd name="T42" fmla="*/ 5258 w 5878"/>
                <a:gd name="T43" fmla="*/ 469 h 1390"/>
                <a:gd name="T44" fmla="*/ 5690 w 5878"/>
                <a:gd name="T45" fmla="*/ 465 h 1390"/>
                <a:gd name="T46" fmla="*/ 5855 w 5878"/>
                <a:gd name="T47" fmla="*/ 452 h 1390"/>
                <a:gd name="T48" fmla="*/ 5872 w 5878"/>
                <a:gd name="T49" fmla="*/ 403 h 1390"/>
                <a:gd name="T50" fmla="*/ 5878 w 5878"/>
                <a:gd name="T51" fmla="*/ 341 h 1390"/>
                <a:gd name="T52" fmla="*/ 5866 w 5878"/>
                <a:gd name="T53" fmla="*/ 194 h 1390"/>
                <a:gd name="T54" fmla="*/ 5861 w 5878"/>
                <a:gd name="T55" fmla="*/ 105 h 1390"/>
                <a:gd name="T56" fmla="*/ 5843 w 5878"/>
                <a:gd name="T57" fmla="*/ 47 h 1390"/>
                <a:gd name="T58" fmla="*/ 5820 w 5878"/>
                <a:gd name="T59" fmla="*/ 0 h 1390"/>
                <a:gd name="T60" fmla="*/ 5277 w 5878"/>
                <a:gd name="T61" fmla="*/ 27 h 1390"/>
                <a:gd name="T62" fmla="*/ 4732 w 5878"/>
                <a:gd name="T63" fmla="*/ 72 h 1390"/>
                <a:gd name="T64" fmla="*/ 4189 w 5878"/>
                <a:gd name="T65" fmla="*/ 132 h 1390"/>
                <a:gd name="T66" fmla="*/ 3648 w 5878"/>
                <a:gd name="T67" fmla="*/ 206 h 1390"/>
                <a:gd name="T68" fmla="*/ 3105 w 5878"/>
                <a:gd name="T69" fmla="*/ 295 h 1390"/>
                <a:gd name="T70" fmla="*/ 2562 w 5878"/>
                <a:gd name="T71" fmla="*/ 396 h 1390"/>
                <a:gd name="T72" fmla="*/ 2019 w 5878"/>
                <a:gd name="T73" fmla="*/ 514 h 1390"/>
                <a:gd name="T74" fmla="*/ 1476 w 5878"/>
                <a:gd name="T75" fmla="*/ 644 h 1390"/>
                <a:gd name="T76" fmla="*/ 931 w 5878"/>
                <a:gd name="T77" fmla="*/ 787 h 1390"/>
                <a:gd name="T78" fmla="*/ 386 w 5878"/>
                <a:gd name="T79" fmla="*/ 944 h 1390"/>
                <a:gd name="T80" fmla="*/ 17 w 5878"/>
                <a:gd name="T81" fmla="*/ 1059 h 1390"/>
                <a:gd name="T82" fmla="*/ 8 w 5878"/>
                <a:gd name="T83" fmla="*/ 1076 h 1390"/>
                <a:gd name="T84" fmla="*/ 2 w 5878"/>
                <a:gd name="T85" fmla="*/ 1103 h 1390"/>
                <a:gd name="T86" fmla="*/ 8 w 5878"/>
                <a:gd name="T87" fmla="*/ 1158 h 1390"/>
                <a:gd name="T88" fmla="*/ 25 w 5878"/>
                <a:gd name="T89" fmla="*/ 1222 h 1390"/>
                <a:gd name="T90" fmla="*/ 50 w 5878"/>
                <a:gd name="T91" fmla="*/ 1278 h 1390"/>
                <a:gd name="T92" fmla="*/ 81 w 5878"/>
                <a:gd name="T93" fmla="*/ 1326 h 1390"/>
                <a:gd name="T94" fmla="*/ 122 w 5878"/>
                <a:gd name="T95" fmla="*/ 1367 h 1390"/>
                <a:gd name="T96" fmla="*/ 155 w 5878"/>
                <a:gd name="T97" fmla="*/ 1390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78" h="1390">
                  <a:moveTo>
                    <a:pt x="155" y="1390"/>
                  </a:moveTo>
                  <a:lnTo>
                    <a:pt x="157" y="1390"/>
                  </a:lnTo>
                  <a:lnTo>
                    <a:pt x="159" y="1390"/>
                  </a:lnTo>
                  <a:lnTo>
                    <a:pt x="163" y="1390"/>
                  </a:lnTo>
                  <a:lnTo>
                    <a:pt x="163" y="1390"/>
                  </a:lnTo>
                  <a:lnTo>
                    <a:pt x="238" y="1330"/>
                  </a:lnTo>
                  <a:lnTo>
                    <a:pt x="266" y="1322"/>
                  </a:lnTo>
                  <a:lnTo>
                    <a:pt x="295" y="1313"/>
                  </a:lnTo>
                  <a:lnTo>
                    <a:pt x="324" y="1307"/>
                  </a:lnTo>
                  <a:lnTo>
                    <a:pt x="353" y="1297"/>
                  </a:lnTo>
                  <a:lnTo>
                    <a:pt x="380" y="1289"/>
                  </a:lnTo>
                  <a:lnTo>
                    <a:pt x="409" y="1280"/>
                  </a:lnTo>
                  <a:lnTo>
                    <a:pt x="438" y="1272"/>
                  </a:lnTo>
                  <a:lnTo>
                    <a:pt x="467" y="1262"/>
                  </a:lnTo>
                  <a:lnTo>
                    <a:pt x="496" y="1255"/>
                  </a:lnTo>
                  <a:lnTo>
                    <a:pt x="524" y="1245"/>
                  </a:lnTo>
                  <a:lnTo>
                    <a:pt x="553" y="1235"/>
                  </a:lnTo>
                  <a:lnTo>
                    <a:pt x="582" y="1227"/>
                  </a:lnTo>
                  <a:lnTo>
                    <a:pt x="611" y="1218"/>
                  </a:lnTo>
                  <a:lnTo>
                    <a:pt x="638" y="1208"/>
                  </a:lnTo>
                  <a:lnTo>
                    <a:pt x="667" y="1200"/>
                  </a:lnTo>
                  <a:lnTo>
                    <a:pt x="696" y="1191"/>
                  </a:lnTo>
                  <a:lnTo>
                    <a:pt x="723" y="1181"/>
                  </a:lnTo>
                  <a:lnTo>
                    <a:pt x="754" y="1173"/>
                  </a:lnTo>
                  <a:lnTo>
                    <a:pt x="781" y="1163"/>
                  </a:lnTo>
                  <a:lnTo>
                    <a:pt x="811" y="1156"/>
                  </a:lnTo>
                  <a:lnTo>
                    <a:pt x="838" y="1146"/>
                  </a:lnTo>
                  <a:lnTo>
                    <a:pt x="867" y="1138"/>
                  </a:lnTo>
                  <a:lnTo>
                    <a:pt x="896" y="1128"/>
                  </a:lnTo>
                  <a:lnTo>
                    <a:pt x="925" y="1121"/>
                  </a:lnTo>
                  <a:lnTo>
                    <a:pt x="952" y="1113"/>
                  </a:lnTo>
                  <a:lnTo>
                    <a:pt x="981" y="1105"/>
                  </a:lnTo>
                  <a:lnTo>
                    <a:pt x="1010" y="1097"/>
                  </a:lnTo>
                  <a:lnTo>
                    <a:pt x="1039" y="1090"/>
                  </a:lnTo>
                  <a:lnTo>
                    <a:pt x="1068" y="1082"/>
                  </a:lnTo>
                  <a:lnTo>
                    <a:pt x="1096" y="1076"/>
                  </a:lnTo>
                  <a:lnTo>
                    <a:pt x="1125" y="1068"/>
                  </a:lnTo>
                  <a:lnTo>
                    <a:pt x="1154" y="1063"/>
                  </a:lnTo>
                  <a:lnTo>
                    <a:pt x="1299" y="1024"/>
                  </a:lnTo>
                  <a:lnTo>
                    <a:pt x="1445" y="989"/>
                  </a:lnTo>
                  <a:lnTo>
                    <a:pt x="1592" y="952"/>
                  </a:lnTo>
                  <a:lnTo>
                    <a:pt x="1738" y="919"/>
                  </a:lnTo>
                  <a:lnTo>
                    <a:pt x="1885" y="886"/>
                  </a:lnTo>
                  <a:lnTo>
                    <a:pt x="2032" y="853"/>
                  </a:lnTo>
                  <a:lnTo>
                    <a:pt x="2178" y="824"/>
                  </a:lnTo>
                  <a:lnTo>
                    <a:pt x="2325" y="793"/>
                  </a:lnTo>
                  <a:lnTo>
                    <a:pt x="2473" y="766"/>
                  </a:lnTo>
                  <a:lnTo>
                    <a:pt x="2620" y="739"/>
                  </a:lnTo>
                  <a:lnTo>
                    <a:pt x="2767" y="714"/>
                  </a:lnTo>
                  <a:lnTo>
                    <a:pt x="2915" y="688"/>
                  </a:lnTo>
                  <a:lnTo>
                    <a:pt x="3060" y="665"/>
                  </a:lnTo>
                  <a:lnTo>
                    <a:pt x="3208" y="644"/>
                  </a:lnTo>
                  <a:lnTo>
                    <a:pt x="3355" y="622"/>
                  </a:lnTo>
                  <a:lnTo>
                    <a:pt x="3502" y="603"/>
                  </a:lnTo>
                  <a:lnTo>
                    <a:pt x="3650" y="586"/>
                  </a:lnTo>
                  <a:lnTo>
                    <a:pt x="3795" y="568"/>
                  </a:lnTo>
                  <a:lnTo>
                    <a:pt x="3943" y="553"/>
                  </a:lnTo>
                  <a:lnTo>
                    <a:pt x="4090" y="539"/>
                  </a:lnTo>
                  <a:lnTo>
                    <a:pt x="4235" y="525"/>
                  </a:lnTo>
                  <a:lnTo>
                    <a:pt x="4383" y="514"/>
                  </a:lnTo>
                  <a:lnTo>
                    <a:pt x="4528" y="502"/>
                  </a:lnTo>
                  <a:lnTo>
                    <a:pt x="4676" y="494"/>
                  </a:lnTo>
                  <a:lnTo>
                    <a:pt x="4821" y="487"/>
                  </a:lnTo>
                  <a:lnTo>
                    <a:pt x="4967" y="479"/>
                  </a:lnTo>
                  <a:lnTo>
                    <a:pt x="5112" y="475"/>
                  </a:lnTo>
                  <a:lnTo>
                    <a:pt x="5258" y="469"/>
                  </a:lnTo>
                  <a:lnTo>
                    <a:pt x="5401" y="467"/>
                  </a:lnTo>
                  <a:lnTo>
                    <a:pt x="5546" y="465"/>
                  </a:lnTo>
                  <a:lnTo>
                    <a:pt x="5690" y="465"/>
                  </a:lnTo>
                  <a:lnTo>
                    <a:pt x="5835" y="467"/>
                  </a:lnTo>
                  <a:lnTo>
                    <a:pt x="5845" y="462"/>
                  </a:lnTo>
                  <a:lnTo>
                    <a:pt x="5855" y="452"/>
                  </a:lnTo>
                  <a:lnTo>
                    <a:pt x="5861" y="438"/>
                  </a:lnTo>
                  <a:lnTo>
                    <a:pt x="5868" y="423"/>
                  </a:lnTo>
                  <a:lnTo>
                    <a:pt x="5872" y="403"/>
                  </a:lnTo>
                  <a:lnTo>
                    <a:pt x="5876" y="382"/>
                  </a:lnTo>
                  <a:lnTo>
                    <a:pt x="5878" y="363"/>
                  </a:lnTo>
                  <a:lnTo>
                    <a:pt x="5878" y="341"/>
                  </a:lnTo>
                  <a:lnTo>
                    <a:pt x="5872" y="291"/>
                  </a:lnTo>
                  <a:lnTo>
                    <a:pt x="5868" y="242"/>
                  </a:lnTo>
                  <a:lnTo>
                    <a:pt x="5866" y="194"/>
                  </a:lnTo>
                  <a:lnTo>
                    <a:pt x="5865" y="147"/>
                  </a:lnTo>
                  <a:lnTo>
                    <a:pt x="5863" y="126"/>
                  </a:lnTo>
                  <a:lnTo>
                    <a:pt x="5861" y="105"/>
                  </a:lnTo>
                  <a:lnTo>
                    <a:pt x="5857" y="85"/>
                  </a:lnTo>
                  <a:lnTo>
                    <a:pt x="5849" y="66"/>
                  </a:lnTo>
                  <a:lnTo>
                    <a:pt x="5843" y="47"/>
                  </a:lnTo>
                  <a:lnTo>
                    <a:pt x="5835" y="31"/>
                  </a:lnTo>
                  <a:lnTo>
                    <a:pt x="5828" y="14"/>
                  </a:lnTo>
                  <a:lnTo>
                    <a:pt x="5820" y="0"/>
                  </a:lnTo>
                  <a:lnTo>
                    <a:pt x="5638" y="8"/>
                  </a:lnTo>
                  <a:lnTo>
                    <a:pt x="5457" y="16"/>
                  </a:lnTo>
                  <a:lnTo>
                    <a:pt x="5277" y="27"/>
                  </a:lnTo>
                  <a:lnTo>
                    <a:pt x="5095" y="41"/>
                  </a:lnTo>
                  <a:lnTo>
                    <a:pt x="4914" y="54"/>
                  </a:lnTo>
                  <a:lnTo>
                    <a:pt x="4732" y="72"/>
                  </a:lnTo>
                  <a:lnTo>
                    <a:pt x="4552" y="89"/>
                  </a:lnTo>
                  <a:lnTo>
                    <a:pt x="4371" y="111"/>
                  </a:lnTo>
                  <a:lnTo>
                    <a:pt x="4189" y="132"/>
                  </a:lnTo>
                  <a:lnTo>
                    <a:pt x="4009" y="155"/>
                  </a:lnTo>
                  <a:lnTo>
                    <a:pt x="3828" y="180"/>
                  </a:lnTo>
                  <a:lnTo>
                    <a:pt x="3648" y="206"/>
                  </a:lnTo>
                  <a:lnTo>
                    <a:pt x="3466" y="233"/>
                  </a:lnTo>
                  <a:lnTo>
                    <a:pt x="3285" y="262"/>
                  </a:lnTo>
                  <a:lnTo>
                    <a:pt x="3105" y="295"/>
                  </a:lnTo>
                  <a:lnTo>
                    <a:pt x="2923" y="326"/>
                  </a:lnTo>
                  <a:lnTo>
                    <a:pt x="2742" y="361"/>
                  </a:lnTo>
                  <a:lnTo>
                    <a:pt x="2562" y="396"/>
                  </a:lnTo>
                  <a:lnTo>
                    <a:pt x="2381" y="434"/>
                  </a:lnTo>
                  <a:lnTo>
                    <a:pt x="2199" y="473"/>
                  </a:lnTo>
                  <a:lnTo>
                    <a:pt x="2019" y="514"/>
                  </a:lnTo>
                  <a:lnTo>
                    <a:pt x="1838" y="555"/>
                  </a:lnTo>
                  <a:lnTo>
                    <a:pt x="1656" y="599"/>
                  </a:lnTo>
                  <a:lnTo>
                    <a:pt x="1476" y="644"/>
                  </a:lnTo>
                  <a:lnTo>
                    <a:pt x="1293" y="690"/>
                  </a:lnTo>
                  <a:lnTo>
                    <a:pt x="1111" y="737"/>
                  </a:lnTo>
                  <a:lnTo>
                    <a:pt x="931" y="787"/>
                  </a:lnTo>
                  <a:lnTo>
                    <a:pt x="748" y="838"/>
                  </a:lnTo>
                  <a:lnTo>
                    <a:pt x="568" y="890"/>
                  </a:lnTo>
                  <a:lnTo>
                    <a:pt x="386" y="944"/>
                  </a:lnTo>
                  <a:lnTo>
                    <a:pt x="204" y="999"/>
                  </a:lnTo>
                  <a:lnTo>
                    <a:pt x="21" y="1055"/>
                  </a:lnTo>
                  <a:lnTo>
                    <a:pt x="17" y="1059"/>
                  </a:lnTo>
                  <a:lnTo>
                    <a:pt x="13" y="1063"/>
                  </a:lnTo>
                  <a:lnTo>
                    <a:pt x="10" y="1068"/>
                  </a:lnTo>
                  <a:lnTo>
                    <a:pt x="8" y="1076"/>
                  </a:lnTo>
                  <a:lnTo>
                    <a:pt x="6" y="1084"/>
                  </a:lnTo>
                  <a:lnTo>
                    <a:pt x="4" y="1094"/>
                  </a:lnTo>
                  <a:lnTo>
                    <a:pt x="2" y="1103"/>
                  </a:lnTo>
                  <a:lnTo>
                    <a:pt x="0" y="1115"/>
                  </a:lnTo>
                  <a:lnTo>
                    <a:pt x="4" y="1136"/>
                  </a:lnTo>
                  <a:lnTo>
                    <a:pt x="8" y="1158"/>
                  </a:lnTo>
                  <a:lnTo>
                    <a:pt x="13" y="1179"/>
                  </a:lnTo>
                  <a:lnTo>
                    <a:pt x="19" y="1200"/>
                  </a:lnTo>
                  <a:lnTo>
                    <a:pt x="25" y="1222"/>
                  </a:lnTo>
                  <a:lnTo>
                    <a:pt x="33" y="1241"/>
                  </a:lnTo>
                  <a:lnTo>
                    <a:pt x="41" y="1258"/>
                  </a:lnTo>
                  <a:lnTo>
                    <a:pt x="50" y="1278"/>
                  </a:lnTo>
                  <a:lnTo>
                    <a:pt x="60" y="1295"/>
                  </a:lnTo>
                  <a:lnTo>
                    <a:pt x="70" y="1311"/>
                  </a:lnTo>
                  <a:lnTo>
                    <a:pt x="81" y="1326"/>
                  </a:lnTo>
                  <a:lnTo>
                    <a:pt x="95" y="1342"/>
                  </a:lnTo>
                  <a:lnTo>
                    <a:pt x="108" y="1353"/>
                  </a:lnTo>
                  <a:lnTo>
                    <a:pt x="122" y="1367"/>
                  </a:lnTo>
                  <a:lnTo>
                    <a:pt x="138" y="1379"/>
                  </a:lnTo>
                  <a:lnTo>
                    <a:pt x="155" y="1390"/>
                  </a:lnTo>
                  <a:lnTo>
                    <a:pt x="155" y="1390"/>
                  </a:lnTo>
                  <a:lnTo>
                    <a:pt x="155" y="139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/>
            <a:lstStyle/>
            <a:p>
              <a:endParaRPr lang="de-DE">
                <a:latin typeface="NeulandFontEuro"/>
                <a:sym typeface="NeulandFontEuro"/>
              </a:endParaRPr>
            </a:p>
          </p:txBody>
        </p:sp>
        <p:sp>
          <p:nvSpPr>
            <p:cNvPr id="33" name="Freeform 45">
              <a:extLst>
                <a:ext uri="{FF2B5EF4-FFF2-40B4-BE49-F238E27FC236}">
                  <a16:creationId xmlns:a16="http://schemas.microsoft.com/office/drawing/2014/main" id="{A12587A3-E712-446D-BC6D-3A3601634FC9}"/>
                </a:ext>
              </a:extLst>
            </p:cNvPr>
            <p:cNvSpPr>
              <a:spLocks/>
            </p:cNvSpPr>
            <p:nvPr/>
          </p:nvSpPr>
          <p:spPr bwMode="gray">
            <a:xfrm rot="4497314">
              <a:off x="4233372" y="2460650"/>
              <a:ext cx="462568" cy="1232068"/>
            </a:xfrm>
            <a:custGeom>
              <a:avLst/>
              <a:gdLst>
                <a:gd name="T0" fmla="*/ 171 w 233"/>
                <a:gd name="T1" fmla="*/ 0 h 283"/>
                <a:gd name="T2" fmla="*/ 0 w 233"/>
                <a:gd name="T3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3" h="283">
                  <a:moveTo>
                    <a:pt x="171" y="0"/>
                  </a:moveTo>
                  <a:cubicBezTo>
                    <a:pt x="233" y="45"/>
                    <a:pt x="29" y="236"/>
                    <a:pt x="0" y="283"/>
                  </a:cubicBezTo>
                </a:path>
              </a:pathLst>
            </a:custGeom>
            <a:solidFill>
              <a:schemeClr val="accent5"/>
            </a:solidFill>
            <a:ln w="76200" cap="flat" cmpd="sng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de-DE">
                <a:latin typeface="NeulandFontEuro"/>
                <a:sym typeface="NeulandFontEuro"/>
              </a:endParaRPr>
            </a:p>
          </p:txBody>
        </p:sp>
        <p:sp>
          <p:nvSpPr>
            <p:cNvPr id="34" name="Freeform 22">
              <a:extLst>
                <a:ext uri="{FF2B5EF4-FFF2-40B4-BE49-F238E27FC236}">
                  <a16:creationId xmlns:a16="http://schemas.microsoft.com/office/drawing/2014/main" id="{40889089-BEF7-435A-B8BB-28FFB3AB85A8}"/>
                </a:ext>
              </a:extLst>
            </p:cNvPr>
            <p:cNvSpPr>
              <a:spLocks/>
            </p:cNvSpPr>
            <p:nvPr/>
          </p:nvSpPr>
          <p:spPr bwMode="gray">
            <a:xfrm rot="15608801" flipH="1">
              <a:off x="4115678" y="3838749"/>
              <a:ext cx="1912183" cy="371504"/>
            </a:xfrm>
            <a:custGeom>
              <a:avLst/>
              <a:gdLst>
                <a:gd name="T0" fmla="*/ 159 w 5878"/>
                <a:gd name="T1" fmla="*/ 1390 h 1390"/>
                <a:gd name="T2" fmla="*/ 238 w 5878"/>
                <a:gd name="T3" fmla="*/ 1330 h 1390"/>
                <a:gd name="T4" fmla="*/ 324 w 5878"/>
                <a:gd name="T5" fmla="*/ 1307 h 1390"/>
                <a:gd name="T6" fmla="*/ 409 w 5878"/>
                <a:gd name="T7" fmla="*/ 1280 h 1390"/>
                <a:gd name="T8" fmla="*/ 496 w 5878"/>
                <a:gd name="T9" fmla="*/ 1255 h 1390"/>
                <a:gd name="T10" fmla="*/ 582 w 5878"/>
                <a:gd name="T11" fmla="*/ 1227 h 1390"/>
                <a:gd name="T12" fmla="*/ 667 w 5878"/>
                <a:gd name="T13" fmla="*/ 1200 h 1390"/>
                <a:gd name="T14" fmla="*/ 754 w 5878"/>
                <a:gd name="T15" fmla="*/ 1173 h 1390"/>
                <a:gd name="T16" fmla="*/ 838 w 5878"/>
                <a:gd name="T17" fmla="*/ 1146 h 1390"/>
                <a:gd name="T18" fmla="*/ 925 w 5878"/>
                <a:gd name="T19" fmla="*/ 1121 h 1390"/>
                <a:gd name="T20" fmla="*/ 1010 w 5878"/>
                <a:gd name="T21" fmla="*/ 1097 h 1390"/>
                <a:gd name="T22" fmla="*/ 1096 w 5878"/>
                <a:gd name="T23" fmla="*/ 1076 h 1390"/>
                <a:gd name="T24" fmla="*/ 1299 w 5878"/>
                <a:gd name="T25" fmla="*/ 1024 h 1390"/>
                <a:gd name="T26" fmla="*/ 1738 w 5878"/>
                <a:gd name="T27" fmla="*/ 919 h 1390"/>
                <a:gd name="T28" fmla="*/ 2178 w 5878"/>
                <a:gd name="T29" fmla="*/ 824 h 1390"/>
                <a:gd name="T30" fmla="*/ 2620 w 5878"/>
                <a:gd name="T31" fmla="*/ 739 h 1390"/>
                <a:gd name="T32" fmla="*/ 3060 w 5878"/>
                <a:gd name="T33" fmla="*/ 665 h 1390"/>
                <a:gd name="T34" fmla="*/ 3502 w 5878"/>
                <a:gd name="T35" fmla="*/ 603 h 1390"/>
                <a:gd name="T36" fmla="*/ 3943 w 5878"/>
                <a:gd name="T37" fmla="*/ 553 h 1390"/>
                <a:gd name="T38" fmla="*/ 4383 w 5878"/>
                <a:gd name="T39" fmla="*/ 514 h 1390"/>
                <a:gd name="T40" fmla="*/ 4821 w 5878"/>
                <a:gd name="T41" fmla="*/ 487 h 1390"/>
                <a:gd name="T42" fmla="*/ 5258 w 5878"/>
                <a:gd name="T43" fmla="*/ 469 h 1390"/>
                <a:gd name="T44" fmla="*/ 5690 w 5878"/>
                <a:gd name="T45" fmla="*/ 465 h 1390"/>
                <a:gd name="T46" fmla="*/ 5855 w 5878"/>
                <a:gd name="T47" fmla="*/ 452 h 1390"/>
                <a:gd name="T48" fmla="*/ 5872 w 5878"/>
                <a:gd name="T49" fmla="*/ 403 h 1390"/>
                <a:gd name="T50" fmla="*/ 5878 w 5878"/>
                <a:gd name="T51" fmla="*/ 341 h 1390"/>
                <a:gd name="T52" fmla="*/ 5866 w 5878"/>
                <a:gd name="T53" fmla="*/ 194 h 1390"/>
                <a:gd name="T54" fmla="*/ 5861 w 5878"/>
                <a:gd name="T55" fmla="*/ 105 h 1390"/>
                <a:gd name="T56" fmla="*/ 5843 w 5878"/>
                <a:gd name="T57" fmla="*/ 47 h 1390"/>
                <a:gd name="T58" fmla="*/ 5820 w 5878"/>
                <a:gd name="T59" fmla="*/ 0 h 1390"/>
                <a:gd name="T60" fmla="*/ 5277 w 5878"/>
                <a:gd name="T61" fmla="*/ 27 h 1390"/>
                <a:gd name="T62" fmla="*/ 4732 w 5878"/>
                <a:gd name="T63" fmla="*/ 72 h 1390"/>
                <a:gd name="T64" fmla="*/ 4189 w 5878"/>
                <a:gd name="T65" fmla="*/ 132 h 1390"/>
                <a:gd name="T66" fmla="*/ 3648 w 5878"/>
                <a:gd name="T67" fmla="*/ 206 h 1390"/>
                <a:gd name="T68" fmla="*/ 3105 w 5878"/>
                <a:gd name="T69" fmla="*/ 295 h 1390"/>
                <a:gd name="T70" fmla="*/ 2562 w 5878"/>
                <a:gd name="T71" fmla="*/ 396 h 1390"/>
                <a:gd name="T72" fmla="*/ 2019 w 5878"/>
                <a:gd name="T73" fmla="*/ 514 h 1390"/>
                <a:gd name="T74" fmla="*/ 1476 w 5878"/>
                <a:gd name="T75" fmla="*/ 644 h 1390"/>
                <a:gd name="T76" fmla="*/ 931 w 5878"/>
                <a:gd name="T77" fmla="*/ 787 h 1390"/>
                <a:gd name="T78" fmla="*/ 386 w 5878"/>
                <a:gd name="T79" fmla="*/ 944 h 1390"/>
                <a:gd name="T80" fmla="*/ 17 w 5878"/>
                <a:gd name="T81" fmla="*/ 1059 h 1390"/>
                <a:gd name="T82" fmla="*/ 8 w 5878"/>
                <a:gd name="T83" fmla="*/ 1076 h 1390"/>
                <a:gd name="T84" fmla="*/ 2 w 5878"/>
                <a:gd name="T85" fmla="*/ 1103 h 1390"/>
                <a:gd name="T86" fmla="*/ 8 w 5878"/>
                <a:gd name="T87" fmla="*/ 1158 h 1390"/>
                <a:gd name="T88" fmla="*/ 25 w 5878"/>
                <a:gd name="T89" fmla="*/ 1222 h 1390"/>
                <a:gd name="T90" fmla="*/ 50 w 5878"/>
                <a:gd name="T91" fmla="*/ 1278 h 1390"/>
                <a:gd name="T92" fmla="*/ 81 w 5878"/>
                <a:gd name="T93" fmla="*/ 1326 h 1390"/>
                <a:gd name="T94" fmla="*/ 122 w 5878"/>
                <a:gd name="T95" fmla="*/ 1367 h 1390"/>
                <a:gd name="T96" fmla="*/ 155 w 5878"/>
                <a:gd name="T97" fmla="*/ 1390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78" h="1390">
                  <a:moveTo>
                    <a:pt x="155" y="1390"/>
                  </a:moveTo>
                  <a:lnTo>
                    <a:pt x="157" y="1390"/>
                  </a:lnTo>
                  <a:lnTo>
                    <a:pt x="159" y="1390"/>
                  </a:lnTo>
                  <a:lnTo>
                    <a:pt x="163" y="1390"/>
                  </a:lnTo>
                  <a:lnTo>
                    <a:pt x="163" y="1390"/>
                  </a:lnTo>
                  <a:lnTo>
                    <a:pt x="238" y="1330"/>
                  </a:lnTo>
                  <a:lnTo>
                    <a:pt x="266" y="1322"/>
                  </a:lnTo>
                  <a:lnTo>
                    <a:pt x="295" y="1313"/>
                  </a:lnTo>
                  <a:lnTo>
                    <a:pt x="324" y="1307"/>
                  </a:lnTo>
                  <a:lnTo>
                    <a:pt x="353" y="1297"/>
                  </a:lnTo>
                  <a:lnTo>
                    <a:pt x="380" y="1289"/>
                  </a:lnTo>
                  <a:lnTo>
                    <a:pt x="409" y="1280"/>
                  </a:lnTo>
                  <a:lnTo>
                    <a:pt x="438" y="1272"/>
                  </a:lnTo>
                  <a:lnTo>
                    <a:pt x="467" y="1262"/>
                  </a:lnTo>
                  <a:lnTo>
                    <a:pt x="496" y="1255"/>
                  </a:lnTo>
                  <a:lnTo>
                    <a:pt x="524" y="1245"/>
                  </a:lnTo>
                  <a:lnTo>
                    <a:pt x="553" y="1235"/>
                  </a:lnTo>
                  <a:lnTo>
                    <a:pt x="582" y="1227"/>
                  </a:lnTo>
                  <a:lnTo>
                    <a:pt x="611" y="1218"/>
                  </a:lnTo>
                  <a:lnTo>
                    <a:pt x="638" y="1208"/>
                  </a:lnTo>
                  <a:lnTo>
                    <a:pt x="667" y="1200"/>
                  </a:lnTo>
                  <a:lnTo>
                    <a:pt x="696" y="1191"/>
                  </a:lnTo>
                  <a:lnTo>
                    <a:pt x="723" y="1181"/>
                  </a:lnTo>
                  <a:lnTo>
                    <a:pt x="754" y="1173"/>
                  </a:lnTo>
                  <a:lnTo>
                    <a:pt x="781" y="1163"/>
                  </a:lnTo>
                  <a:lnTo>
                    <a:pt x="811" y="1156"/>
                  </a:lnTo>
                  <a:lnTo>
                    <a:pt x="838" y="1146"/>
                  </a:lnTo>
                  <a:lnTo>
                    <a:pt x="867" y="1138"/>
                  </a:lnTo>
                  <a:lnTo>
                    <a:pt x="896" y="1128"/>
                  </a:lnTo>
                  <a:lnTo>
                    <a:pt x="925" y="1121"/>
                  </a:lnTo>
                  <a:lnTo>
                    <a:pt x="952" y="1113"/>
                  </a:lnTo>
                  <a:lnTo>
                    <a:pt x="981" y="1105"/>
                  </a:lnTo>
                  <a:lnTo>
                    <a:pt x="1010" y="1097"/>
                  </a:lnTo>
                  <a:lnTo>
                    <a:pt x="1039" y="1090"/>
                  </a:lnTo>
                  <a:lnTo>
                    <a:pt x="1068" y="1082"/>
                  </a:lnTo>
                  <a:lnTo>
                    <a:pt x="1096" y="1076"/>
                  </a:lnTo>
                  <a:lnTo>
                    <a:pt x="1125" y="1068"/>
                  </a:lnTo>
                  <a:lnTo>
                    <a:pt x="1154" y="1063"/>
                  </a:lnTo>
                  <a:lnTo>
                    <a:pt x="1299" y="1024"/>
                  </a:lnTo>
                  <a:lnTo>
                    <a:pt x="1445" y="989"/>
                  </a:lnTo>
                  <a:lnTo>
                    <a:pt x="1592" y="952"/>
                  </a:lnTo>
                  <a:lnTo>
                    <a:pt x="1738" y="919"/>
                  </a:lnTo>
                  <a:lnTo>
                    <a:pt x="1885" y="886"/>
                  </a:lnTo>
                  <a:lnTo>
                    <a:pt x="2032" y="853"/>
                  </a:lnTo>
                  <a:lnTo>
                    <a:pt x="2178" y="824"/>
                  </a:lnTo>
                  <a:lnTo>
                    <a:pt x="2325" y="793"/>
                  </a:lnTo>
                  <a:lnTo>
                    <a:pt x="2473" y="766"/>
                  </a:lnTo>
                  <a:lnTo>
                    <a:pt x="2620" y="739"/>
                  </a:lnTo>
                  <a:lnTo>
                    <a:pt x="2767" y="714"/>
                  </a:lnTo>
                  <a:lnTo>
                    <a:pt x="2915" y="688"/>
                  </a:lnTo>
                  <a:lnTo>
                    <a:pt x="3060" y="665"/>
                  </a:lnTo>
                  <a:lnTo>
                    <a:pt x="3208" y="644"/>
                  </a:lnTo>
                  <a:lnTo>
                    <a:pt x="3355" y="622"/>
                  </a:lnTo>
                  <a:lnTo>
                    <a:pt x="3502" y="603"/>
                  </a:lnTo>
                  <a:lnTo>
                    <a:pt x="3650" y="586"/>
                  </a:lnTo>
                  <a:lnTo>
                    <a:pt x="3795" y="568"/>
                  </a:lnTo>
                  <a:lnTo>
                    <a:pt x="3943" y="553"/>
                  </a:lnTo>
                  <a:lnTo>
                    <a:pt x="4090" y="539"/>
                  </a:lnTo>
                  <a:lnTo>
                    <a:pt x="4235" y="525"/>
                  </a:lnTo>
                  <a:lnTo>
                    <a:pt x="4383" y="514"/>
                  </a:lnTo>
                  <a:lnTo>
                    <a:pt x="4528" y="502"/>
                  </a:lnTo>
                  <a:lnTo>
                    <a:pt x="4676" y="494"/>
                  </a:lnTo>
                  <a:lnTo>
                    <a:pt x="4821" y="487"/>
                  </a:lnTo>
                  <a:lnTo>
                    <a:pt x="4967" y="479"/>
                  </a:lnTo>
                  <a:lnTo>
                    <a:pt x="5112" y="475"/>
                  </a:lnTo>
                  <a:lnTo>
                    <a:pt x="5258" y="469"/>
                  </a:lnTo>
                  <a:lnTo>
                    <a:pt x="5401" y="467"/>
                  </a:lnTo>
                  <a:lnTo>
                    <a:pt x="5546" y="465"/>
                  </a:lnTo>
                  <a:lnTo>
                    <a:pt x="5690" y="465"/>
                  </a:lnTo>
                  <a:lnTo>
                    <a:pt x="5835" y="467"/>
                  </a:lnTo>
                  <a:lnTo>
                    <a:pt x="5845" y="462"/>
                  </a:lnTo>
                  <a:lnTo>
                    <a:pt x="5855" y="452"/>
                  </a:lnTo>
                  <a:lnTo>
                    <a:pt x="5861" y="438"/>
                  </a:lnTo>
                  <a:lnTo>
                    <a:pt x="5868" y="423"/>
                  </a:lnTo>
                  <a:lnTo>
                    <a:pt x="5872" y="403"/>
                  </a:lnTo>
                  <a:lnTo>
                    <a:pt x="5876" y="382"/>
                  </a:lnTo>
                  <a:lnTo>
                    <a:pt x="5878" y="363"/>
                  </a:lnTo>
                  <a:lnTo>
                    <a:pt x="5878" y="341"/>
                  </a:lnTo>
                  <a:lnTo>
                    <a:pt x="5872" y="291"/>
                  </a:lnTo>
                  <a:lnTo>
                    <a:pt x="5868" y="242"/>
                  </a:lnTo>
                  <a:lnTo>
                    <a:pt x="5866" y="194"/>
                  </a:lnTo>
                  <a:lnTo>
                    <a:pt x="5865" y="147"/>
                  </a:lnTo>
                  <a:lnTo>
                    <a:pt x="5863" y="126"/>
                  </a:lnTo>
                  <a:lnTo>
                    <a:pt x="5861" y="105"/>
                  </a:lnTo>
                  <a:lnTo>
                    <a:pt x="5857" y="85"/>
                  </a:lnTo>
                  <a:lnTo>
                    <a:pt x="5849" y="66"/>
                  </a:lnTo>
                  <a:lnTo>
                    <a:pt x="5843" y="47"/>
                  </a:lnTo>
                  <a:lnTo>
                    <a:pt x="5835" y="31"/>
                  </a:lnTo>
                  <a:lnTo>
                    <a:pt x="5828" y="14"/>
                  </a:lnTo>
                  <a:lnTo>
                    <a:pt x="5820" y="0"/>
                  </a:lnTo>
                  <a:lnTo>
                    <a:pt x="5638" y="8"/>
                  </a:lnTo>
                  <a:lnTo>
                    <a:pt x="5457" y="16"/>
                  </a:lnTo>
                  <a:lnTo>
                    <a:pt x="5277" y="27"/>
                  </a:lnTo>
                  <a:lnTo>
                    <a:pt x="5095" y="41"/>
                  </a:lnTo>
                  <a:lnTo>
                    <a:pt x="4914" y="54"/>
                  </a:lnTo>
                  <a:lnTo>
                    <a:pt x="4732" y="72"/>
                  </a:lnTo>
                  <a:lnTo>
                    <a:pt x="4552" y="89"/>
                  </a:lnTo>
                  <a:lnTo>
                    <a:pt x="4371" y="111"/>
                  </a:lnTo>
                  <a:lnTo>
                    <a:pt x="4189" y="132"/>
                  </a:lnTo>
                  <a:lnTo>
                    <a:pt x="4009" y="155"/>
                  </a:lnTo>
                  <a:lnTo>
                    <a:pt x="3828" y="180"/>
                  </a:lnTo>
                  <a:lnTo>
                    <a:pt x="3648" y="206"/>
                  </a:lnTo>
                  <a:lnTo>
                    <a:pt x="3466" y="233"/>
                  </a:lnTo>
                  <a:lnTo>
                    <a:pt x="3285" y="262"/>
                  </a:lnTo>
                  <a:lnTo>
                    <a:pt x="3105" y="295"/>
                  </a:lnTo>
                  <a:lnTo>
                    <a:pt x="2923" y="326"/>
                  </a:lnTo>
                  <a:lnTo>
                    <a:pt x="2742" y="361"/>
                  </a:lnTo>
                  <a:lnTo>
                    <a:pt x="2562" y="396"/>
                  </a:lnTo>
                  <a:lnTo>
                    <a:pt x="2381" y="434"/>
                  </a:lnTo>
                  <a:lnTo>
                    <a:pt x="2199" y="473"/>
                  </a:lnTo>
                  <a:lnTo>
                    <a:pt x="2019" y="514"/>
                  </a:lnTo>
                  <a:lnTo>
                    <a:pt x="1838" y="555"/>
                  </a:lnTo>
                  <a:lnTo>
                    <a:pt x="1656" y="599"/>
                  </a:lnTo>
                  <a:lnTo>
                    <a:pt x="1476" y="644"/>
                  </a:lnTo>
                  <a:lnTo>
                    <a:pt x="1293" y="690"/>
                  </a:lnTo>
                  <a:lnTo>
                    <a:pt x="1111" y="737"/>
                  </a:lnTo>
                  <a:lnTo>
                    <a:pt x="931" y="787"/>
                  </a:lnTo>
                  <a:lnTo>
                    <a:pt x="748" y="838"/>
                  </a:lnTo>
                  <a:lnTo>
                    <a:pt x="568" y="890"/>
                  </a:lnTo>
                  <a:lnTo>
                    <a:pt x="386" y="944"/>
                  </a:lnTo>
                  <a:lnTo>
                    <a:pt x="204" y="999"/>
                  </a:lnTo>
                  <a:lnTo>
                    <a:pt x="21" y="1055"/>
                  </a:lnTo>
                  <a:lnTo>
                    <a:pt x="17" y="1059"/>
                  </a:lnTo>
                  <a:lnTo>
                    <a:pt x="13" y="1063"/>
                  </a:lnTo>
                  <a:lnTo>
                    <a:pt x="10" y="1068"/>
                  </a:lnTo>
                  <a:lnTo>
                    <a:pt x="8" y="1076"/>
                  </a:lnTo>
                  <a:lnTo>
                    <a:pt x="6" y="1084"/>
                  </a:lnTo>
                  <a:lnTo>
                    <a:pt x="4" y="1094"/>
                  </a:lnTo>
                  <a:lnTo>
                    <a:pt x="2" y="1103"/>
                  </a:lnTo>
                  <a:lnTo>
                    <a:pt x="0" y="1115"/>
                  </a:lnTo>
                  <a:lnTo>
                    <a:pt x="4" y="1136"/>
                  </a:lnTo>
                  <a:lnTo>
                    <a:pt x="8" y="1158"/>
                  </a:lnTo>
                  <a:lnTo>
                    <a:pt x="13" y="1179"/>
                  </a:lnTo>
                  <a:lnTo>
                    <a:pt x="19" y="1200"/>
                  </a:lnTo>
                  <a:lnTo>
                    <a:pt x="25" y="1222"/>
                  </a:lnTo>
                  <a:lnTo>
                    <a:pt x="33" y="1241"/>
                  </a:lnTo>
                  <a:lnTo>
                    <a:pt x="41" y="1258"/>
                  </a:lnTo>
                  <a:lnTo>
                    <a:pt x="50" y="1278"/>
                  </a:lnTo>
                  <a:lnTo>
                    <a:pt x="60" y="1295"/>
                  </a:lnTo>
                  <a:lnTo>
                    <a:pt x="70" y="1311"/>
                  </a:lnTo>
                  <a:lnTo>
                    <a:pt x="81" y="1326"/>
                  </a:lnTo>
                  <a:lnTo>
                    <a:pt x="95" y="1342"/>
                  </a:lnTo>
                  <a:lnTo>
                    <a:pt x="108" y="1353"/>
                  </a:lnTo>
                  <a:lnTo>
                    <a:pt x="122" y="1367"/>
                  </a:lnTo>
                  <a:lnTo>
                    <a:pt x="138" y="1379"/>
                  </a:lnTo>
                  <a:lnTo>
                    <a:pt x="155" y="1390"/>
                  </a:lnTo>
                  <a:lnTo>
                    <a:pt x="155" y="1390"/>
                  </a:lnTo>
                  <a:lnTo>
                    <a:pt x="155" y="139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/>
            <a:lstStyle/>
            <a:p>
              <a:endParaRPr lang="de-DE">
                <a:latin typeface="NeulandFontEuro"/>
                <a:sym typeface="NeulandFontEuro"/>
              </a:endParaRPr>
            </a:p>
          </p:txBody>
        </p:sp>
        <p:sp>
          <p:nvSpPr>
            <p:cNvPr id="35" name="Freeform 22">
              <a:extLst>
                <a:ext uri="{FF2B5EF4-FFF2-40B4-BE49-F238E27FC236}">
                  <a16:creationId xmlns:a16="http://schemas.microsoft.com/office/drawing/2014/main" id="{25CA16F5-2E15-4806-9F55-365995B562CA}"/>
                </a:ext>
              </a:extLst>
            </p:cNvPr>
            <p:cNvSpPr>
              <a:spLocks/>
            </p:cNvSpPr>
            <p:nvPr/>
          </p:nvSpPr>
          <p:spPr bwMode="gray">
            <a:xfrm rot="9608534" flipH="1">
              <a:off x="3858375" y="4647150"/>
              <a:ext cx="1322152" cy="518020"/>
            </a:xfrm>
            <a:custGeom>
              <a:avLst/>
              <a:gdLst>
                <a:gd name="T0" fmla="*/ 159 w 5878"/>
                <a:gd name="T1" fmla="*/ 1390 h 1390"/>
                <a:gd name="T2" fmla="*/ 238 w 5878"/>
                <a:gd name="T3" fmla="*/ 1330 h 1390"/>
                <a:gd name="T4" fmla="*/ 324 w 5878"/>
                <a:gd name="T5" fmla="*/ 1307 h 1390"/>
                <a:gd name="T6" fmla="*/ 409 w 5878"/>
                <a:gd name="T7" fmla="*/ 1280 h 1390"/>
                <a:gd name="T8" fmla="*/ 496 w 5878"/>
                <a:gd name="T9" fmla="*/ 1255 h 1390"/>
                <a:gd name="T10" fmla="*/ 582 w 5878"/>
                <a:gd name="T11" fmla="*/ 1227 h 1390"/>
                <a:gd name="T12" fmla="*/ 667 w 5878"/>
                <a:gd name="T13" fmla="*/ 1200 h 1390"/>
                <a:gd name="T14" fmla="*/ 754 w 5878"/>
                <a:gd name="T15" fmla="*/ 1173 h 1390"/>
                <a:gd name="T16" fmla="*/ 838 w 5878"/>
                <a:gd name="T17" fmla="*/ 1146 h 1390"/>
                <a:gd name="T18" fmla="*/ 925 w 5878"/>
                <a:gd name="T19" fmla="*/ 1121 h 1390"/>
                <a:gd name="T20" fmla="*/ 1010 w 5878"/>
                <a:gd name="T21" fmla="*/ 1097 h 1390"/>
                <a:gd name="T22" fmla="*/ 1096 w 5878"/>
                <a:gd name="T23" fmla="*/ 1076 h 1390"/>
                <a:gd name="T24" fmla="*/ 1299 w 5878"/>
                <a:gd name="T25" fmla="*/ 1024 h 1390"/>
                <a:gd name="T26" fmla="*/ 1738 w 5878"/>
                <a:gd name="T27" fmla="*/ 919 h 1390"/>
                <a:gd name="T28" fmla="*/ 2178 w 5878"/>
                <a:gd name="T29" fmla="*/ 824 h 1390"/>
                <a:gd name="T30" fmla="*/ 2620 w 5878"/>
                <a:gd name="T31" fmla="*/ 739 h 1390"/>
                <a:gd name="T32" fmla="*/ 3060 w 5878"/>
                <a:gd name="T33" fmla="*/ 665 h 1390"/>
                <a:gd name="T34" fmla="*/ 3502 w 5878"/>
                <a:gd name="T35" fmla="*/ 603 h 1390"/>
                <a:gd name="T36" fmla="*/ 3943 w 5878"/>
                <a:gd name="T37" fmla="*/ 553 h 1390"/>
                <a:gd name="T38" fmla="*/ 4383 w 5878"/>
                <a:gd name="T39" fmla="*/ 514 h 1390"/>
                <a:gd name="T40" fmla="*/ 4821 w 5878"/>
                <a:gd name="T41" fmla="*/ 487 h 1390"/>
                <a:gd name="T42" fmla="*/ 5258 w 5878"/>
                <a:gd name="T43" fmla="*/ 469 h 1390"/>
                <a:gd name="T44" fmla="*/ 5690 w 5878"/>
                <a:gd name="T45" fmla="*/ 465 h 1390"/>
                <a:gd name="T46" fmla="*/ 5855 w 5878"/>
                <a:gd name="T47" fmla="*/ 452 h 1390"/>
                <a:gd name="T48" fmla="*/ 5872 w 5878"/>
                <a:gd name="T49" fmla="*/ 403 h 1390"/>
                <a:gd name="T50" fmla="*/ 5878 w 5878"/>
                <a:gd name="T51" fmla="*/ 341 h 1390"/>
                <a:gd name="T52" fmla="*/ 5866 w 5878"/>
                <a:gd name="T53" fmla="*/ 194 h 1390"/>
                <a:gd name="T54" fmla="*/ 5861 w 5878"/>
                <a:gd name="T55" fmla="*/ 105 h 1390"/>
                <a:gd name="T56" fmla="*/ 5843 w 5878"/>
                <a:gd name="T57" fmla="*/ 47 h 1390"/>
                <a:gd name="T58" fmla="*/ 5820 w 5878"/>
                <a:gd name="T59" fmla="*/ 0 h 1390"/>
                <a:gd name="T60" fmla="*/ 5277 w 5878"/>
                <a:gd name="T61" fmla="*/ 27 h 1390"/>
                <a:gd name="T62" fmla="*/ 4732 w 5878"/>
                <a:gd name="T63" fmla="*/ 72 h 1390"/>
                <a:gd name="T64" fmla="*/ 4189 w 5878"/>
                <a:gd name="T65" fmla="*/ 132 h 1390"/>
                <a:gd name="T66" fmla="*/ 3648 w 5878"/>
                <a:gd name="T67" fmla="*/ 206 h 1390"/>
                <a:gd name="T68" fmla="*/ 3105 w 5878"/>
                <a:gd name="T69" fmla="*/ 295 h 1390"/>
                <a:gd name="T70" fmla="*/ 2562 w 5878"/>
                <a:gd name="T71" fmla="*/ 396 h 1390"/>
                <a:gd name="T72" fmla="*/ 2019 w 5878"/>
                <a:gd name="T73" fmla="*/ 514 h 1390"/>
                <a:gd name="T74" fmla="*/ 1476 w 5878"/>
                <a:gd name="T75" fmla="*/ 644 h 1390"/>
                <a:gd name="T76" fmla="*/ 931 w 5878"/>
                <a:gd name="T77" fmla="*/ 787 h 1390"/>
                <a:gd name="T78" fmla="*/ 386 w 5878"/>
                <a:gd name="T79" fmla="*/ 944 h 1390"/>
                <a:gd name="T80" fmla="*/ 17 w 5878"/>
                <a:gd name="T81" fmla="*/ 1059 h 1390"/>
                <a:gd name="T82" fmla="*/ 8 w 5878"/>
                <a:gd name="T83" fmla="*/ 1076 h 1390"/>
                <a:gd name="T84" fmla="*/ 2 w 5878"/>
                <a:gd name="T85" fmla="*/ 1103 h 1390"/>
                <a:gd name="T86" fmla="*/ 8 w 5878"/>
                <a:gd name="T87" fmla="*/ 1158 h 1390"/>
                <a:gd name="T88" fmla="*/ 25 w 5878"/>
                <a:gd name="T89" fmla="*/ 1222 h 1390"/>
                <a:gd name="T90" fmla="*/ 50 w 5878"/>
                <a:gd name="T91" fmla="*/ 1278 h 1390"/>
                <a:gd name="T92" fmla="*/ 81 w 5878"/>
                <a:gd name="T93" fmla="*/ 1326 h 1390"/>
                <a:gd name="T94" fmla="*/ 122 w 5878"/>
                <a:gd name="T95" fmla="*/ 1367 h 1390"/>
                <a:gd name="T96" fmla="*/ 155 w 5878"/>
                <a:gd name="T97" fmla="*/ 1390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78" h="1390">
                  <a:moveTo>
                    <a:pt x="155" y="1390"/>
                  </a:moveTo>
                  <a:lnTo>
                    <a:pt x="157" y="1390"/>
                  </a:lnTo>
                  <a:lnTo>
                    <a:pt x="159" y="1390"/>
                  </a:lnTo>
                  <a:lnTo>
                    <a:pt x="163" y="1390"/>
                  </a:lnTo>
                  <a:lnTo>
                    <a:pt x="163" y="1390"/>
                  </a:lnTo>
                  <a:lnTo>
                    <a:pt x="238" y="1330"/>
                  </a:lnTo>
                  <a:lnTo>
                    <a:pt x="266" y="1322"/>
                  </a:lnTo>
                  <a:lnTo>
                    <a:pt x="295" y="1313"/>
                  </a:lnTo>
                  <a:lnTo>
                    <a:pt x="324" y="1307"/>
                  </a:lnTo>
                  <a:lnTo>
                    <a:pt x="353" y="1297"/>
                  </a:lnTo>
                  <a:lnTo>
                    <a:pt x="380" y="1289"/>
                  </a:lnTo>
                  <a:lnTo>
                    <a:pt x="409" y="1280"/>
                  </a:lnTo>
                  <a:lnTo>
                    <a:pt x="438" y="1272"/>
                  </a:lnTo>
                  <a:lnTo>
                    <a:pt x="467" y="1262"/>
                  </a:lnTo>
                  <a:lnTo>
                    <a:pt x="496" y="1255"/>
                  </a:lnTo>
                  <a:lnTo>
                    <a:pt x="524" y="1245"/>
                  </a:lnTo>
                  <a:lnTo>
                    <a:pt x="553" y="1235"/>
                  </a:lnTo>
                  <a:lnTo>
                    <a:pt x="582" y="1227"/>
                  </a:lnTo>
                  <a:lnTo>
                    <a:pt x="611" y="1218"/>
                  </a:lnTo>
                  <a:lnTo>
                    <a:pt x="638" y="1208"/>
                  </a:lnTo>
                  <a:lnTo>
                    <a:pt x="667" y="1200"/>
                  </a:lnTo>
                  <a:lnTo>
                    <a:pt x="696" y="1191"/>
                  </a:lnTo>
                  <a:lnTo>
                    <a:pt x="723" y="1181"/>
                  </a:lnTo>
                  <a:lnTo>
                    <a:pt x="754" y="1173"/>
                  </a:lnTo>
                  <a:lnTo>
                    <a:pt x="781" y="1163"/>
                  </a:lnTo>
                  <a:lnTo>
                    <a:pt x="811" y="1156"/>
                  </a:lnTo>
                  <a:lnTo>
                    <a:pt x="838" y="1146"/>
                  </a:lnTo>
                  <a:lnTo>
                    <a:pt x="867" y="1138"/>
                  </a:lnTo>
                  <a:lnTo>
                    <a:pt x="896" y="1128"/>
                  </a:lnTo>
                  <a:lnTo>
                    <a:pt x="925" y="1121"/>
                  </a:lnTo>
                  <a:lnTo>
                    <a:pt x="952" y="1113"/>
                  </a:lnTo>
                  <a:lnTo>
                    <a:pt x="981" y="1105"/>
                  </a:lnTo>
                  <a:lnTo>
                    <a:pt x="1010" y="1097"/>
                  </a:lnTo>
                  <a:lnTo>
                    <a:pt x="1039" y="1090"/>
                  </a:lnTo>
                  <a:lnTo>
                    <a:pt x="1068" y="1082"/>
                  </a:lnTo>
                  <a:lnTo>
                    <a:pt x="1096" y="1076"/>
                  </a:lnTo>
                  <a:lnTo>
                    <a:pt x="1125" y="1068"/>
                  </a:lnTo>
                  <a:lnTo>
                    <a:pt x="1154" y="1063"/>
                  </a:lnTo>
                  <a:lnTo>
                    <a:pt x="1299" y="1024"/>
                  </a:lnTo>
                  <a:lnTo>
                    <a:pt x="1445" y="989"/>
                  </a:lnTo>
                  <a:lnTo>
                    <a:pt x="1592" y="952"/>
                  </a:lnTo>
                  <a:lnTo>
                    <a:pt x="1738" y="919"/>
                  </a:lnTo>
                  <a:lnTo>
                    <a:pt x="1885" y="886"/>
                  </a:lnTo>
                  <a:lnTo>
                    <a:pt x="2032" y="853"/>
                  </a:lnTo>
                  <a:lnTo>
                    <a:pt x="2178" y="824"/>
                  </a:lnTo>
                  <a:lnTo>
                    <a:pt x="2325" y="793"/>
                  </a:lnTo>
                  <a:lnTo>
                    <a:pt x="2473" y="766"/>
                  </a:lnTo>
                  <a:lnTo>
                    <a:pt x="2620" y="739"/>
                  </a:lnTo>
                  <a:lnTo>
                    <a:pt x="2767" y="714"/>
                  </a:lnTo>
                  <a:lnTo>
                    <a:pt x="2915" y="688"/>
                  </a:lnTo>
                  <a:lnTo>
                    <a:pt x="3060" y="665"/>
                  </a:lnTo>
                  <a:lnTo>
                    <a:pt x="3208" y="644"/>
                  </a:lnTo>
                  <a:lnTo>
                    <a:pt x="3355" y="622"/>
                  </a:lnTo>
                  <a:lnTo>
                    <a:pt x="3502" y="603"/>
                  </a:lnTo>
                  <a:lnTo>
                    <a:pt x="3650" y="586"/>
                  </a:lnTo>
                  <a:lnTo>
                    <a:pt x="3795" y="568"/>
                  </a:lnTo>
                  <a:lnTo>
                    <a:pt x="3943" y="553"/>
                  </a:lnTo>
                  <a:lnTo>
                    <a:pt x="4090" y="539"/>
                  </a:lnTo>
                  <a:lnTo>
                    <a:pt x="4235" y="525"/>
                  </a:lnTo>
                  <a:lnTo>
                    <a:pt x="4383" y="514"/>
                  </a:lnTo>
                  <a:lnTo>
                    <a:pt x="4528" y="502"/>
                  </a:lnTo>
                  <a:lnTo>
                    <a:pt x="4676" y="494"/>
                  </a:lnTo>
                  <a:lnTo>
                    <a:pt x="4821" y="487"/>
                  </a:lnTo>
                  <a:lnTo>
                    <a:pt x="4967" y="479"/>
                  </a:lnTo>
                  <a:lnTo>
                    <a:pt x="5112" y="475"/>
                  </a:lnTo>
                  <a:lnTo>
                    <a:pt x="5258" y="469"/>
                  </a:lnTo>
                  <a:lnTo>
                    <a:pt x="5401" y="467"/>
                  </a:lnTo>
                  <a:lnTo>
                    <a:pt x="5546" y="465"/>
                  </a:lnTo>
                  <a:lnTo>
                    <a:pt x="5690" y="465"/>
                  </a:lnTo>
                  <a:lnTo>
                    <a:pt x="5835" y="467"/>
                  </a:lnTo>
                  <a:lnTo>
                    <a:pt x="5845" y="462"/>
                  </a:lnTo>
                  <a:lnTo>
                    <a:pt x="5855" y="452"/>
                  </a:lnTo>
                  <a:lnTo>
                    <a:pt x="5861" y="438"/>
                  </a:lnTo>
                  <a:lnTo>
                    <a:pt x="5868" y="423"/>
                  </a:lnTo>
                  <a:lnTo>
                    <a:pt x="5872" y="403"/>
                  </a:lnTo>
                  <a:lnTo>
                    <a:pt x="5876" y="382"/>
                  </a:lnTo>
                  <a:lnTo>
                    <a:pt x="5878" y="363"/>
                  </a:lnTo>
                  <a:lnTo>
                    <a:pt x="5878" y="341"/>
                  </a:lnTo>
                  <a:lnTo>
                    <a:pt x="5872" y="291"/>
                  </a:lnTo>
                  <a:lnTo>
                    <a:pt x="5868" y="242"/>
                  </a:lnTo>
                  <a:lnTo>
                    <a:pt x="5866" y="194"/>
                  </a:lnTo>
                  <a:lnTo>
                    <a:pt x="5865" y="147"/>
                  </a:lnTo>
                  <a:lnTo>
                    <a:pt x="5863" y="126"/>
                  </a:lnTo>
                  <a:lnTo>
                    <a:pt x="5861" y="105"/>
                  </a:lnTo>
                  <a:lnTo>
                    <a:pt x="5857" y="85"/>
                  </a:lnTo>
                  <a:lnTo>
                    <a:pt x="5849" y="66"/>
                  </a:lnTo>
                  <a:lnTo>
                    <a:pt x="5843" y="47"/>
                  </a:lnTo>
                  <a:lnTo>
                    <a:pt x="5835" y="31"/>
                  </a:lnTo>
                  <a:lnTo>
                    <a:pt x="5828" y="14"/>
                  </a:lnTo>
                  <a:lnTo>
                    <a:pt x="5820" y="0"/>
                  </a:lnTo>
                  <a:lnTo>
                    <a:pt x="5638" y="8"/>
                  </a:lnTo>
                  <a:lnTo>
                    <a:pt x="5457" y="16"/>
                  </a:lnTo>
                  <a:lnTo>
                    <a:pt x="5277" y="27"/>
                  </a:lnTo>
                  <a:lnTo>
                    <a:pt x="5095" y="41"/>
                  </a:lnTo>
                  <a:lnTo>
                    <a:pt x="4914" y="54"/>
                  </a:lnTo>
                  <a:lnTo>
                    <a:pt x="4732" y="72"/>
                  </a:lnTo>
                  <a:lnTo>
                    <a:pt x="4552" y="89"/>
                  </a:lnTo>
                  <a:lnTo>
                    <a:pt x="4371" y="111"/>
                  </a:lnTo>
                  <a:lnTo>
                    <a:pt x="4189" y="132"/>
                  </a:lnTo>
                  <a:lnTo>
                    <a:pt x="4009" y="155"/>
                  </a:lnTo>
                  <a:lnTo>
                    <a:pt x="3828" y="180"/>
                  </a:lnTo>
                  <a:lnTo>
                    <a:pt x="3648" y="206"/>
                  </a:lnTo>
                  <a:lnTo>
                    <a:pt x="3466" y="233"/>
                  </a:lnTo>
                  <a:lnTo>
                    <a:pt x="3285" y="262"/>
                  </a:lnTo>
                  <a:lnTo>
                    <a:pt x="3105" y="295"/>
                  </a:lnTo>
                  <a:lnTo>
                    <a:pt x="2923" y="326"/>
                  </a:lnTo>
                  <a:lnTo>
                    <a:pt x="2742" y="361"/>
                  </a:lnTo>
                  <a:lnTo>
                    <a:pt x="2562" y="396"/>
                  </a:lnTo>
                  <a:lnTo>
                    <a:pt x="2381" y="434"/>
                  </a:lnTo>
                  <a:lnTo>
                    <a:pt x="2199" y="473"/>
                  </a:lnTo>
                  <a:lnTo>
                    <a:pt x="2019" y="514"/>
                  </a:lnTo>
                  <a:lnTo>
                    <a:pt x="1838" y="555"/>
                  </a:lnTo>
                  <a:lnTo>
                    <a:pt x="1656" y="599"/>
                  </a:lnTo>
                  <a:lnTo>
                    <a:pt x="1476" y="644"/>
                  </a:lnTo>
                  <a:lnTo>
                    <a:pt x="1293" y="690"/>
                  </a:lnTo>
                  <a:lnTo>
                    <a:pt x="1111" y="737"/>
                  </a:lnTo>
                  <a:lnTo>
                    <a:pt x="931" y="787"/>
                  </a:lnTo>
                  <a:lnTo>
                    <a:pt x="748" y="838"/>
                  </a:lnTo>
                  <a:lnTo>
                    <a:pt x="568" y="890"/>
                  </a:lnTo>
                  <a:lnTo>
                    <a:pt x="386" y="944"/>
                  </a:lnTo>
                  <a:lnTo>
                    <a:pt x="204" y="999"/>
                  </a:lnTo>
                  <a:lnTo>
                    <a:pt x="21" y="1055"/>
                  </a:lnTo>
                  <a:lnTo>
                    <a:pt x="17" y="1059"/>
                  </a:lnTo>
                  <a:lnTo>
                    <a:pt x="13" y="1063"/>
                  </a:lnTo>
                  <a:lnTo>
                    <a:pt x="10" y="1068"/>
                  </a:lnTo>
                  <a:lnTo>
                    <a:pt x="8" y="1076"/>
                  </a:lnTo>
                  <a:lnTo>
                    <a:pt x="6" y="1084"/>
                  </a:lnTo>
                  <a:lnTo>
                    <a:pt x="4" y="1094"/>
                  </a:lnTo>
                  <a:lnTo>
                    <a:pt x="2" y="1103"/>
                  </a:lnTo>
                  <a:lnTo>
                    <a:pt x="0" y="1115"/>
                  </a:lnTo>
                  <a:lnTo>
                    <a:pt x="4" y="1136"/>
                  </a:lnTo>
                  <a:lnTo>
                    <a:pt x="8" y="1158"/>
                  </a:lnTo>
                  <a:lnTo>
                    <a:pt x="13" y="1179"/>
                  </a:lnTo>
                  <a:lnTo>
                    <a:pt x="19" y="1200"/>
                  </a:lnTo>
                  <a:lnTo>
                    <a:pt x="25" y="1222"/>
                  </a:lnTo>
                  <a:lnTo>
                    <a:pt x="33" y="1241"/>
                  </a:lnTo>
                  <a:lnTo>
                    <a:pt x="41" y="1258"/>
                  </a:lnTo>
                  <a:lnTo>
                    <a:pt x="50" y="1278"/>
                  </a:lnTo>
                  <a:lnTo>
                    <a:pt x="60" y="1295"/>
                  </a:lnTo>
                  <a:lnTo>
                    <a:pt x="70" y="1311"/>
                  </a:lnTo>
                  <a:lnTo>
                    <a:pt x="81" y="1326"/>
                  </a:lnTo>
                  <a:lnTo>
                    <a:pt x="95" y="1342"/>
                  </a:lnTo>
                  <a:lnTo>
                    <a:pt x="108" y="1353"/>
                  </a:lnTo>
                  <a:lnTo>
                    <a:pt x="122" y="1367"/>
                  </a:lnTo>
                  <a:lnTo>
                    <a:pt x="138" y="1379"/>
                  </a:lnTo>
                  <a:lnTo>
                    <a:pt x="155" y="1390"/>
                  </a:lnTo>
                  <a:lnTo>
                    <a:pt x="155" y="1390"/>
                  </a:lnTo>
                  <a:lnTo>
                    <a:pt x="155" y="139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/>
            <a:lstStyle/>
            <a:p>
              <a:endParaRPr lang="de-DE">
                <a:latin typeface="NeulandFontEuro"/>
                <a:sym typeface="NeulandFontEuro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29FECFD-D1F6-4600-92AE-8ABECF805883}"/>
              </a:ext>
            </a:extLst>
          </p:cNvPr>
          <p:cNvGrpSpPr/>
          <p:nvPr/>
        </p:nvGrpSpPr>
        <p:grpSpPr>
          <a:xfrm rot="10800000" flipV="1">
            <a:off x="2585278" y="5537507"/>
            <a:ext cx="1634108" cy="2113939"/>
            <a:chOff x="3613953" y="2845400"/>
            <a:chExt cx="1634108" cy="2319770"/>
          </a:xfrm>
          <a:solidFill>
            <a:schemeClr val="accent5"/>
          </a:solidFill>
        </p:grpSpPr>
        <p:sp>
          <p:nvSpPr>
            <p:cNvPr id="38" name="Freeform 22">
              <a:extLst>
                <a:ext uri="{FF2B5EF4-FFF2-40B4-BE49-F238E27FC236}">
                  <a16:creationId xmlns:a16="http://schemas.microsoft.com/office/drawing/2014/main" id="{167D1B6A-F3E9-4492-AEEF-6965668A9D99}"/>
                </a:ext>
              </a:extLst>
            </p:cNvPr>
            <p:cNvSpPr>
              <a:spLocks/>
            </p:cNvSpPr>
            <p:nvPr/>
          </p:nvSpPr>
          <p:spPr bwMode="gray">
            <a:xfrm rot="15608801" flipH="1">
              <a:off x="2810732" y="3871145"/>
              <a:ext cx="1977945" cy="371504"/>
            </a:xfrm>
            <a:custGeom>
              <a:avLst/>
              <a:gdLst>
                <a:gd name="T0" fmla="*/ 159 w 5878"/>
                <a:gd name="T1" fmla="*/ 1390 h 1390"/>
                <a:gd name="T2" fmla="*/ 238 w 5878"/>
                <a:gd name="T3" fmla="*/ 1330 h 1390"/>
                <a:gd name="T4" fmla="*/ 324 w 5878"/>
                <a:gd name="T5" fmla="*/ 1307 h 1390"/>
                <a:gd name="T6" fmla="*/ 409 w 5878"/>
                <a:gd name="T7" fmla="*/ 1280 h 1390"/>
                <a:gd name="T8" fmla="*/ 496 w 5878"/>
                <a:gd name="T9" fmla="*/ 1255 h 1390"/>
                <a:gd name="T10" fmla="*/ 582 w 5878"/>
                <a:gd name="T11" fmla="*/ 1227 h 1390"/>
                <a:gd name="T12" fmla="*/ 667 w 5878"/>
                <a:gd name="T13" fmla="*/ 1200 h 1390"/>
                <a:gd name="T14" fmla="*/ 754 w 5878"/>
                <a:gd name="T15" fmla="*/ 1173 h 1390"/>
                <a:gd name="T16" fmla="*/ 838 w 5878"/>
                <a:gd name="T17" fmla="*/ 1146 h 1390"/>
                <a:gd name="T18" fmla="*/ 925 w 5878"/>
                <a:gd name="T19" fmla="*/ 1121 h 1390"/>
                <a:gd name="T20" fmla="*/ 1010 w 5878"/>
                <a:gd name="T21" fmla="*/ 1097 h 1390"/>
                <a:gd name="T22" fmla="*/ 1096 w 5878"/>
                <a:gd name="T23" fmla="*/ 1076 h 1390"/>
                <a:gd name="T24" fmla="*/ 1299 w 5878"/>
                <a:gd name="T25" fmla="*/ 1024 h 1390"/>
                <a:gd name="T26" fmla="*/ 1738 w 5878"/>
                <a:gd name="T27" fmla="*/ 919 h 1390"/>
                <a:gd name="T28" fmla="*/ 2178 w 5878"/>
                <a:gd name="T29" fmla="*/ 824 h 1390"/>
                <a:gd name="T30" fmla="*/ 2620 w 5878"/>
                <a:gd name="T31" fmla="*/ 739 h 1390"/>
                <a:gd name="T32" fmla="*/ 3060 w 5878"/>
                <a:gd name="T33" fmla="*/ 665 h 1390"/>
                <a:gd name="T34" fmla="*/ 3502 w 5878"/>
                <a:gd name="T35" fmla="*/ 603 h 1390"/>
                <a:gd name="T36" fmla="*/ 3943 w 5878"/>
                <a:gd name="T37" fmla="*/ 553 h 1390"/>
                <a:gd name="T38" fmla="*/ 4383 w 5878"/>
                <a:gd name="T39" fmla="*/ 514 h 1390"/>
                <a:gd name="T40" fmla="*/ 4821 w 5878"/>
                <a:gd name="T41" fmla="*/ 487 h 1390"/>
                <a:gd name="T42" fmla="*/ 5258 w 5878"/>
                <a:gd name="T43" fmla="*/ 469 h 1390"/>
                <a:gd name="T44" fmla="*/ 5690 w 5878"/>
                <a:gd name="T45" fmla="*/ 465 h 1390"/>
                <a:gd name="T46" fmla="*/ 5855 w 5878"/>
                <a:gd name="T47" fmla="*/ 452 h 1390"/>
                <a:gd name="T48" fmla="*/ 5872 w 5878"/>
                <a:gd name="T49" fmla="*/ 403 h 1390"/>
                <a:gd name="T50" fmla="*/ 5878 w 5878"/>
                <a:gd name="T51" fmla="*/ 341 h 1390"/>
                <a:gd name="T52" fmla="*/ 5866 w 5878"/>
                <a:gd name="T53" fmla="*/ 194 h 1390"/>
                <a:gd name="T54" fmla="*/ 5861 w 5878"/>
                <a:gd name="T55" fmla="*/ 105 h 1390"/>
                <a:gd name="T56" fmla="*/ 5843 w 5878"/>
                <a:gd name="T57" fmla="*/ 47 h 1390"/>
                <a:gd name="T58" fmla="*/ 5820 w 5878"/>
                <a:gd name="T59" fmla="*/ 0 h 1390"/>
                <a:gd name="T60" fmla="*/ 5277 w 5878"/>
                <a:gd name="T61" fmla="*/ 27 h 1390"/>
                <a:gd name="T62" fmla="*/ 4732 w 5878"/>
                <a:gd name="T63" fmla="*/ 72 h 1390"/>
                <a:gd name="T64" fmla="*/ 4189 w 5878"/>
                <a:gd name="T65" fmla="*/ 132 h 1390"/>
                <a:gd name="T66" fmla="*/ 3648 w 5878"/>
                <a:gd name="T67" fmla="*/ 206 h 1390"/>
                <a:gd name="T68" fmla="*/ 3105 w 5878"/>
                <a:gd name="T69" fmla="*/ 295 h 1390"/>
                <a:gd name="T70" fmla="*/ 2562 w 5878"/>
                <a:gd name="T71" fmla="*/ 396 h 1390"/>
                <a:gd name="T72" fmla="*/ 2019 w 5878"/>
                <a:gd name="T73" fmla="*/ 514 h 1390"/>
                <a:gd name="T74" fmla="*/ 1476 w 5878"/>
                <a:gd name="T75" fmla="*/ 644 h 1390"/>
                <a:gd name="T76" fmla="*/ 931 w 5878"/>
                <a:gd name="T77" fmla="*/ 787 h 1390"/>
                <a:gd name="T78" fmla="*/ 386 w 5878"/>
                <a:gd name="T79" fmla="*/ 944 h 1390"/>
                <a:gd name="T80" fmla="*/ 17 w 5878"/>
                <a:gd name="T81" fmla="*/ 1059 h 1390"/>
                <a:gd name="T82" fmla="*/ 8 w 5878"/>
                <a:gd name="T83" fmla="*/ 1076 h 1390"/>
                <a:gd name="T84" fmla="*/ 2 w 5878"/>
                <a:gd name="T85" fmla="*/ 1103 h 1390"/>
                <a:gd name="T86" fmla="*/ 8 w 5878"/>
                <a:gd name="T87" fmla="*/ 1158 h 1390"/>
                <a:gd name="T88" fmla="*/ 25 w 5878"/>
                <a:gd name="T89" fmla="*/ 1222 h 1390"/>
                <a:gd name="T90" fmla="*/ 50 w 5878"/>
                <a:gd name="T91" fmla="*/ 1278 h 1390"/>
                <a:gd name="T92" fmla="*/ 81 w 5878"/>
                <a:gd name="T93" fmla="*/ 1326 h 1390"/>
                <a:gd name="T94" fmla="*/ 122 w 5878"/>
                <a:gd name="T95" fmla="*/ 1367 h 1390"/>
                <a:gd name="T96" fmla="*/ 155 w 5878"/>
                <a:gd name="T97" fmla="*/ 1390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78" h="1390">
                  <a:moveTo>
                    <a:pt x="155" y="1390"/>
                  </a:moveTo>
                  <a:lnTo>
                    <a:pt x="157" y="1390"/>
                  </a:lnTo>
                  <a:lnTo>
                    <a:pt x="159" y="1390"/>
                  </a:lnTo>
                  <a:lnTo>
                    <a:pt x="163" y="1390"/>
                  </a:lnTo>
                  <a:lnTo>
                    <a:pt x="163" y="1390"/>
                  </a:lnTo>
                  <a:lnTo>
                    <a:pt x="238" y="1330"/>
                  </a:lnTo>
                  <a:lnTo>
                    <a:pt x="266" y="1322"/>
                  </a:lnTo>
                  <a:lnTo>
                    <a:pt x="295" y="1313"/>
                  </a:lnTo>
                  <a:lnTo>
                    <a:pt x="324" y="1307"/>
                  </a:lnTo>
                  <a:lnTo>
                    <a:pt x="353" y="1297"/>
                  </a:lnTo>
                  <a:lnTo>
                    <a:pt x="380" y="1289"/>
                  </a:lnTo>
                  <a:lnTo>
                    <a:pt x="409" y="1280"/>
                  </a:lnTo>
                  <a:lnTo>
                    <a:pt x="438" y="1272"/>
                  </a:lnTo>
                  <a:lnTo>
                    <a:pt x="467" y="1262"/>
                  </a:lnTo>
                  <a:lnTo>
                    <a:pt x="496" y="1255"/>
                  </a:lnTo>
                  <a:lnTo>
                    <a:pt x="524" y="1245"/>
                  </a:lnTo>
                  <a:lnTo>
                    <a:pt x="553" y="1235"/>
                  </a:lnTo>
                  <a:lnTo>
                    <a:pt x="582" y="1227"/>
                  </a:lnTo>
                  <a:lnTo>
                    <a:pt x="611" y="1218"/>
                  </a:lnTo>
                  <a:lnTo>
                    <a:pt x="638" y="1208"/>
                  </a:lnTo>
                  <a:lnTo>
                    <a:pt x="667" y="1200"/>
                  </a:lnTo>
                  <a:lnTo>
                    <a:pt x="696" y="1191"/>
                  </a:lnTo>
                  <a:lnTo>
                    <a:pt x="723" y="1181"/>
                  </a:lnTo>
                  <a:lnTo>
                    <a:pt x="754" y="1173"/>
                  </a:lnTo>
                  <a:lnTo>
                    <a:pt x="781" y="1163"/>
                  </a:lnTo>
                  <a:lnTo>
                    <a:pt x="811" y="1156"/>
                  </a:lnTo>
                  <a:lnTo>
                    <a:pt x="838" y="1146"/>
                  </a:lnTo>
                  <a:lnTo>
                    <a:pt x="867" y="1138"/>
                  </a:lnTo>
                  <a:lnTo>
                    <a:pt x="896" y="1128"/>
                  </a:lnTo>
                  <a:lnTo>
                    <a:pt x="925" y="1121"/>
                  </a:lnTo>
                  <a:lnTo>
                    <a:pt x="952" y="1113"/>
                  </a:lnTo>
                  <a:lnTo>
                    <a:pt x="981" y="1105"/>
                  </a:lnTo>
                  <a:lnTo>
                    <a:pt x="1010" y="1097"/>
                  </a:lnTo>
                  <a:lnTo>
                    <a:pt x="1039" y="1090"/>
                  </a:lnTo>
                  <a:lnTo>
                    <a:pt x="1068" y="1082"/>
                  </a:lnTo>
                  <a:lnTo>
                    <a:pt x="1096" y="1076"/>
                  </a:lnTo>
                  <a:lnTo>
                    <a:pt x="1125" y="1068"/>
                  </a:lnTo>
                  <a:lnTo>
                    <a:pt x="1154" y="1063"/>
                  </a:lnTo>
                  <a:lnTo>
                    <a:pt x="1299" y="1024"/>
                  </a:lnTo>
                  <a:lnTo>
                    <a:pt x="1445" y="989"/>
                  </a:lnTo>
                  <a:lnTo>
                    <a:pt x="1592" y="952"/>
                  </a:lnTo>
                  <a:lnTo>
                    <a:pt x="1738" y="919"/>
                  </a:lnTo>
                  <a:lnTo>
                    <a:pt x="1885" y="886"/>
                  </a:lnTo>
                  <a:lnTo>
                    <a:pt x="2032" y="853"/>
                  </a:lnTo>
                  <a:lnTo>
                    <a:pt x="2178" y="824"/>
                  </a:lnTo>
                  <a:lnTo>
                    <a:pt x="2325" y="793"/>
                  </a:lnTo>
                  <a:lnTo>
                    <a:pt x="2473" y="766"/>
                  </a:lnTo>
                  <a:lnTo>
                    <a:pt x="2620" y="739"/>
                  </a:lnTo>
                  <a:lnTo>
                    <a:pt x="2767" y="714"/>
                  </a:lnTo>
                  <a:lnTo>
                    <a:pt x="2915" y="688"/>
                  </a:lnTo>
                  <a:lnTo>
                    <a:pt x="3060" y="665"/>
                  </a:lnTo>
                  <a:lnTo>
                    <a:pt x="3208" y="644"/>
                  </a:lnTo>
                  <a:lnTo>
                    <a:pt x="3355" y="622"/>
                  </a:lnTo>
                  <a:lnTo>
                    <a:pt x="3502" y="603"/>
                  </a:lnTo>
                  <a:lnTo>
                    <a:pt x="3650" y="586"/>
                  </a:lnTo>
                  <a:lnTo>
                    <a:pt x="3795" y="568"/>
                  </a:lnTo>
                  <a:lnTo>
                    <a:pt x="3943" y="553"/>
                  </a:lnTo>
                  <a:lnTo>
                    <a:pt x="4090" y="539"/>
                  </a:lnTo>
                  <a:lnTo>
                    <a:pt x="4235" y="525"/>
                  </a:lnTo>
                  <a:lnTo>
                    <a:pt x="4383" y="514"/>
                  </a:lnTo>
                  <a:lnTo>
                    <a:pt x="4528" y="502"/>
                  </a:lnTo>
                  <a:lnTo>
                    <a:pt x="4676" y="494"/>
                  </a:lnTo>
                  <a:lnTo>
                    <a:pt x="4821" y="487"/>
                  </a:lnTo>
                  <a:lnTo>
                    <a:pt x="4967" y="479"/>
                  </a:lnTo>
                  <a:lnTo>
                    <a:pt x="5112" y="475"/>
                  </a:lnTo>
                  <a:lnTo>
                    <a:pt x="5258" y="469"/>
                  </a:lnTo>
                  <a:lnTo>
                    <a:pt x="5401" y="467"/>
                  </a:lnTo>
                  <a:lnTo>
                    <a:pt x="5546" y="465"/>
                  </a:lnTo>
                  <a:lnTo>
                    <a:pt x="5690" y="465"/>
                  </a:lnTo>
                  <a:lnTo>
                    <a:pt x="5835" y="467"/>
                  </a:lnTo>
                  <a:lnTo>
                    <a:pt x="5845" y="462"/>
                  </a:lnTo>
                  <a:lnTo>
                    <a:pt x="5855" y="452"/>
                  </a:lnTo>
                  <a:lnTo>
                    <a:pt x="5861" y="438"/>
                  </a:lnTo>
                  <a:lnTo>
                    <a:pt x="5868" y="423"/>
                  </a:lnTo>
                  <a:lnTo>
                    <a:pt x="5872" y="403"/>
                  </a:lnTo>
                  <a:lnTo>
                    <a:pt x="5876" y="382"/>
                  </a:lnTo>
                  <a:lnTo>
                    <a:pt x="5878" y="363"/>
                  </a:lnTo>
                  <a:lnTo>
                    <a:pt x="5878" y="341"/>
                  </a:lnTo>
                  <a:lnTo>
                    <a:pt x="5872" y="291"/>
                  </a:lnTo>
                  <a:lnTo>
                    <a:pt x="5868" y="242"/>
                  </a:lnTo>
                  <a:lnTo>
                    <a:pt x="5866" y="194"/>
                  </a:lnTo>
                  <a:lnTo>
                    <a:pt x="5865" y="147"/>
                  </a:lnTo>
                  <a:lnTo>
                    <a:pt x="5863" y="126"/>
                  </a:lnTo>
                  <a:lnTo>
                    <a:pt x="5861" y="105"/>
                  </a:lnTo>
                  <a:lnTo>
                    <a:pt x="5857" y="85"/>
                  </a:lnTo>
                  <a:lnTo>
                    <a:pt x="5849" y="66"/>
                  </a:lnTo>
                  <a:lnTo>
                    <a:pt x="5843" y="47"/>
                  </a:lnTo>
                  <a:lnTo>
                    <a:pt x="5835" y="31"/>
                  </a:lnTo>
                  <a:lnTo>
                    <a:pt x="5828" y="14"/>
                  </a:lnTo>
                  <a:lnTo>
                    <a:pt x="5820" y="0"/>
                  </a:lnTo>
                  <a:lnTo>
                    <a:pt x="5638" y="8"/>
                  </a:lnTo>
                  <a:lnTo>
                    <a:pt x="5457" y="16"/>
                  </a:lnTo>
                  <a:lnTo>
                    <a:pt x="5277" y="27"/>
                  </a:lnTo>
                  <a:lnTo>
                    <a:pt x="5095" y="41"/>
                  </a:lnTo>
                  <a:lnTo>
                    <a:pt x="4914" y="54"/>
                  </a:lnTo>
                  <a:lnTo>
                    <a:pt x="4732" y="72"/>
                  </a:lnTo>
                  <a:lnTo>
                    <a:pt x="4552" y="89"/>
                  </a:lnTo>
                  <a:lnTo>
                    <a:pt x="4371" y="111"/>
                  </a:lnTo>
                  <a:lnTo>
                    <a:pt x="4189" y="132"/>
                  </a:lnTo>
                  <a:lnTo>
                    <a:pt x="4009" y="155"/>
                  </a:lnTo>
                  <a:lnTo>
                    <a:pt x="3828" y="180"/>
                  </a:lnTo>
                  <a:lnTo>
                    <a:pt x="3648" y="206"/>
                  </a:lnTo>
                  <a:lnTo>
                    <a:pt x="3466" y="233"/>
                  </a:lnTo>
                  <a:lnTo>
                    <a:pt x="3285" y="262"/>
                  </a:lnTo>
                  <a:lnTo>
                    <a:pt x="3105" y="295"/>
                  </a:lnTo>
                  <a:lnTo>
                    <a:pt x="2923" y="326"/>
                  </a:lnTo>
                  <a:lnTo>
                    <a:pt x="2742" y="361"/>
                  </a:lnTo>
                  <a:lnTo>
                    <a:pt x="2562" y="396"/>
                  </a:lnTo>
                  <a:lnTo>
                    <a:pt x="2381" y="434"/>
                  </a:lnTo>
                  <a:lnTo>
                    <a:pt x="2199" y="473"/>
                  </a:lnTo>
                  <a:lnTo>
                    <a:pt x="2019" y="514"/>
                  </a:lnTo>
                  <a:lnTo>
                    <a:pt x="1838" y="555"/>
                  </a:lnTo>
                  <a:lnTo>
                    <a:pt x="1656" y="599"/>
                  </a:lnTo>
                  <a:lnTo>
                    <a:pt x="1476" y="644"/>
                  </a:lnTo>
                  <a:lnTo>
                    <a:pt x="1293" y="690"/>
                  </a:lnTo>
                  <a:lnTo>
                    <a:pt x="1111" y="737"/>
                  </a:lnTo>
                  <a:lnTo>
                    <a:pt x="931" y="787"/>
                  </a:lnTo>
                  <a:lnTo>
                    <a:pt x="748" y="838"/>
                  </a:lnTo>
                  <a:lnTo>
                    <a:pt x="568" y="890"/>
                  </a:lnTo>
                  <a:lnTo>
                    <a:pt x="386" y="944"/>
                  </a:lnTo>
                  <a:lnTo>
                    <a:pt x="204" y="999"/>
                  </a:lnTo>
                  <a:lnTo>
                    <a:pt x="21" y="1055"/>
                  </a:lnTo>
                  <a:lnTo>
                    <a:pt x="17" y="1059"/>
                  </a:lnTo>
                  <a:lnTo>
                    <a:pt x="13" y="1063"/>
                  </a:lnTo>
                  <a:lnTo>
                    <a:pt x="10" y="1068"/>
                  </a:lnTo>
                  <a:lnTo>
                    <a:pt x="8" y="1076"/>
                  </a:lnTo>
                  <a:lnTo>
                    <a:pt x="6" y="1084"/>
                  </a:lnTo>
                  <a:lnTo>
                    <a:pt x="4" y="1094"/>
                  </a:lnTo>
                  <a:lnTo>
                    <a:pt x="2" y="1103"/>
                  </a:lnTo>
                  <a:lnTo>
                    <a:pt x="0" y="1115"/>
                  </a:lnTo>
                  <a:lnTo>
                    <a:pt x="4" y="1136"/>
                  </a:lnTo>
                  <a:lnTo>
                    <a:pt x="8" y="1158"/>
                  </a:lnTo>
                  <a:lnTo>
                    <a:pt x="13" y="1179"/>
                  </a:lnTo>
                  <a:lnTo>
                    <a:pt x="19" y="1200"/>
                  </a:lnTo>
                  <a:lnTo>
                    <a:pt x="25" y="1222"/>
                  </a:lnTo>
                  <a:lnTo>
                    <a:pt x="33" y="1241"/>
                  </a:lnTo>
                  <a:lnTo>
                    <a:pt x="41" y="1258"/>
                  </a:lnTo>
                  <a:lnTo>
                    <a:pt x="50" y="1278"/>
                  </a:lnTo>
                  <a:lnTo>
                    <a:pt x="60" y="1295"/>
                  </a:lnTo>
                  <a:lnTo>
                    <a:pt x="70" y="1311"/>
                  </a:lnTo>
                  <a:lnTo>
                    <a:pt x="81" y="1326"/>
                  </a:lnTo>
                  <a:lnTo>
                    <a:pt x="95" y="1342"/>
                  </a:lnTo>
                  <a:lnTo>
                    <a:pt x="108" y="1353"/>
                  </a:lnTo>
                  <a:lnTo>
                    <a:pt x="122" y="1367"/>
                  </a:lnTo>
                  <a:lnTo>
                    <a:pt x="138" y="1379"/>
                  </a:lnTo>
                  <a:lnTo>
                    <a:pt x="155" y="1390"/>
                  </a:lnTo>
                  <a:lnTo>
                    <a:pt x="155" y="1390"/>
                  </a:lnTo>
                  <a:lnTo>
                    <a:pt x="155" y="139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/>
            <a:lstStyle/>
            <a:p>
              <a:endParaRPr lang="de-DE">
                <a:latin typeface="NeulandFontEuro"/>
                <a:sym typeface="NeulandFontEuro"/>
              </a:endParaRPr>
            </a:p>
          </p:txBody>
        </p:sp>
        <p:sp>
          <p:nvSpPr>
            <p:cNvPr id="39" name="Freeform 45">
              <a:extLst>
                <a:ext uri="{FF2B5EF4-FFF2-40B4-BE49-F238E27FC236}">
                  <a16:creationId xmlns:a16="http://schemas.microsoft.com/office/drawing/2014/main" id="{F5DEA567-1969-4B86-A85B-8972D548C01D}"/>
                </a:ext>
              </a:extLst>
            </p:cNvPr>
            <p:cNvSpPr>
              <a:spLocks/>
            </p:cNvSpPr>
            <p:nvPr/>
          </p:nvSpPr>
          <p:spPr bwMode="gray">
            <a:xfrm rot="4497314">
              <a:off x="4233372" y="2460650"/>
              <a:ext cx="462568" cy="1232068"/>
            </a:xfrm>
            <a:custGeom>
              <a:avLst/>
              <a:gdLst>
                <a:gd name="T0" fmla="*/ 171 w 233"/>
                <a:gd name="T1" fmla="*/ 0 h 283"/>
                <a:gd name="T2" fmla="*/ 0 w 233"/>
                <a:gd name="T3" fmla="*/ 283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33" h="283">
                  <a:moveTo>
                    <a:pt x="171" y="0"/>
                  </a:moveTo>
                  <a:cubicBezTo>
                    <a:pt x="233" y="45"/>
                    <a:pt x="29" y="236"/>
                    <a:pt x="0" y="283"/>
                  </a:cubicBezTo>
                </a:path>
              </a:pathLst>
            </a:custGeom>
            <a:solidFill>
              <a:schemeClr val="accent5"/>
            </a:solidFill>
            <a:ln w="76200" cap="flat" cmpd="sng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de-DE">
                <a:latin typeface="NeulandFontEuro"/>
                <a:sym typeface="NeulandFontEuro"/>
              </a:endParaRPr>
            </a:p>
          </p:txBody>
        </p:sp>
        <p:sp>
          <p:nvSpPr>
            <p:cNvPr id="40" name="Freeform 22">
              <a:extLst>
                <a:ext uri="{FF2B5EF4-FFF2-40B4-BE49-F238E27FC236}">
                  <a16:creationId xmlns:a16="http://schemas.microsoft.com/office/drawing/2014/main" id="{24D30A78-E489-4985-814B-A971B03BBAAD}"/>
                </a:ext>
              </a:extLst>
            </p:cNvPr>
            <p:cNvSpPr>
              <a:spLocks/>
            </p:cNvSpPr>
            <p:nvPr/>
          </p:nvSpPr>
          <p:spPr bwMode="gray">
            <a:xfrm rot="15608801" flipH="1">
              <a:off x="4173089" y="3772865"/>
              <a:ext cx="1778440" cy="371504"/>
            </a:xfrm>
            <a:custGeom>
              <a:avLst/>
              <a:gdLst>
                <a:gd name="T0" fmla="*/ 159 w 5878"/>
                <a:gd name="T1" fmla="*/ 1390 h 1390"/>
                <a:gd name="T2" fmla="*/ 238 w 5878"/>
                <a:gd name="T3" fmla="*/ 1330 h 1390"/>
                <a:gd name="T4" fmla="*/ 324 w 5878"/>
                <a:gd name="T5" fmla="*/ 1307 h 1390"/>
                <a:gd name="T6" fmla="*/ 409 w 5878"/>
                <a:gd name="T7" fmla="*/ 1280 h 1390"/>
                <a:gd name="T8" fmla="*/ 496 w 5878"/>
                <a:gd name="T9" fmla="*/ 1255 h 1390"/>
                <a:gd name="T10" fmla="*/ 582 w 5878"/>
                <a:gd name="T11" fmla="*/ 1227 h 1390"/>
                <a:gd name="T12" fmla="*/ 667 w 5878"/>
                <a:gd name="T13" fmla="*/ 1200 h 1390"/>
                <a:gd name="T14" fmla="*/ 754 w 5878"/>
                <a:gd name="T15" fmla="*/ 1173 h 1390"/>
                <a:gd name="T16" fmla="*/ 838 w 5878"/>
                <a:gd name="T17" fmla="*/ 1146 h 1390"/>
                <a:gd name="T18" fmla="*/ 925 w 5878"/>
                <a:gd name="T19" fmla="*/ 1121 h 1390"/>
                <a:gd name="T20" fmla="*/ 1010 w 5878"/>
                <a:gd name="T21" fmla="*/ 1097 h 1390"/>
                <a:gd name="T22" fmla="*/ 1096 w 5878"/>
                <a:gd name="T23" fmla="*/ 1076 h 1390"/>
                <a:gd name="T24" fmla="*/ 1299 w 5878"/>
                <a:gd name="T25" fmla="*/ 1024 h 1390"/>
                <a:gd name="T26" fmla="*/ 1738 w 5878"/>
                <a:gd name="T27" fmla="*/ 919 h 1390"/>
                <a:gd name="T28" fmla="*/ 2178 w 5878"/>
                <a:gd name="T29" fmla="*/ 824 h 1390"/>
                <a:gd name="T30" fmla="*/ 2620 w 5878"/>
                <a:gd name="T31" fmla="*/ 739 h 1390"/>
                <a:gd name="T32" fmla="*/ 3060 w 5878"/>
                <a:gd name="T33" fmla="*/ 665 h 1390"/>
                <a:gd name="T34" fmla="*/ 3502 w 5878"/>
                <a:gd name="T35" fmla="*/ 603 h 1390"/>
                <a:gd name="T36" fmla="*/ 3943 w 5878"/>
                <a:gd name="T37" fmla="*/ 553 h 1390"/>
                <a:gd name="T38" fmla="*/ 4383 w 5878"/>
                <a:gd name="T39" fmla="*/ 514 h 1390"/>
                <a:gd name="T40" fmla="*/ 4821 w 5878"/>
                <a:gd name="T41" fmla="*/ 487 h 1390"/>
                <a:gd name="T42" fmla="*/ 5258 w 5878"/>
                <a:gd name="T43" fmla="*/ 469 h 1390"/>
                <a:gd name="T44" fmla="*/ 5690 w 5878"/>
                <a:gd name="T45" fmla="*/ 465 h 1390"/>
                <a:gd name="T46" fmla="*/ 5855 w 5878"/>
                <a:gd name="T47" fmla="*/ 452 h 1390"/>
                <a:gd name="T48" fmla="*/ 5872 w 5878"/>
                <a:gd name="T49" fmla="*/ 403 h 1390"/>
                <a:gd name="T50" fmla="*/ 5878 w 5878"/>
                <a:gd name="T51" fmla="*/ 341 h 1390"/>
                <a:gd name="T52" fmla="*/ 5866 w 5878"/>
                <a:gd name="T53" fmla="*/ 194 h 1390"/>
                <a:gd name="T54" fmla="*/ 5861 w 5878"/>
                <a:gd name="T55" fmla="*/ 105 h 1390"/>
                <a:gd name="T56" fmla="*/ 5843 w 5878"/>
                <a:gd name="T57" fmla="*/ 47 h 1390"/>
                <a:gd name="T58" fmla="*/ 5820 w 5878"/>
                <a:gd name="T59" fmla="*/ 0 h 1390"/>
                <a:gd name="T60" fmla="*/ 5277 w 5878"/>
                <a:gd name="T61" fmla="*/ 27 h 1390"/>
                <a:gd name="T62" fmla="*/ 4732 w 5878"/>
                <a:gd name="T63" fmla="*/ 72 h 1390"/>
                <a:gd name="T64" fmla="*/ 4189 w 5878"/>
                <a:gd name="T65" fmla="*/ 132 h 1390"/>
                <a:gd name="T66" fmla="*/ 3648 w 5878"/>
                <a:gd name="T67" fmla="*/ 206 h 1390"/>
                <a:gd name="T68" fmla="*/ 3105 w 5878"/>
                <a:gd name="T69" fmla="*/ 295 h 1390"/>
                <a:gd name="T70" fmla="*/ 2562 w 5878"/>
                <a:gd name="T71" fmla="*/ 396 h 1390"/>
                <a:gd name="T72" fmla="*/ 2019 w 5878"/>
                <a:gd name="T73" fmla="*/ 514 h 1390"/>
                <a:gd name="T74" fmla="*/ 1476 w 5878"/>
                <a:gd name="T75" fmla="*/ 644 h 1390"/>
                <a:gd name="T76" fmla="*/ 931 w 5878"/>
                <a:gd name="T77" fmla="*/ 787 h 1390"/>
                <a:gd name="T78" fmla="*/ 386 w 5878"/>
                <a:gd name="T79" fmla="*/ 944 h 1390"/>
                <a:gd name="T80" fmla="*/ 17 w 5878"/>
                <a:gd name="T81" fmla="*/ 1059 h 1390"/>
                <a:gd name="T82" fmla="*/ 8 w 5878"/>
                <a:gd name="T83" fmla="*/ 1076 h 1390"/>
                <a:gd name="T84" fmla="*/ 2 w 5878"/>
                <a:gd name="T85" fmla="*/ 1103 h 1390"/>
                <a:gd name="T86" fmla="*/ 8 w 5878"/>
                <a:gd name="T87" fmla="*/ 1158 h 1390"/>
                <a:gd name="T88" fmla="*/ 25 w 5878"/>
                <a:gd name="T89" fmla="*/ 1222 h 1390"/>
                <a:gd name="T90" fmla="*/ 50 w 5878"/>
                <a:gd name="T91" fmla="*/ 1278 h 1390"/>
                <a:gd name="T92" fmla="*/ 81 w 5878"/>
                <a:gd name="T93" fmla="*/ 1326 h 1390"/>
                <a:gd name="T94" fmla="*/ 122 w 5878"/>
                <a:gd name="T95" fmla="*/ 1367 h 1390"/>
                <a:gd name="T96" fmla="*/ 155 w 5878"/>
                <a:gd name="T97" fmla="*/ 1390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78" h="1390">
                  <a:moveTo>
                    <a:pt x="155" y="1390"/>
                  </a:moveTo>
                  <a:lnTo>
                    <a:pt x="157" y="1390"/>
                  </a:lnTo>
                  <a:lnTo>
                    <a:pt x="159" y="1390"/>
                  </a:lnTo>
                  <a:lnTo>
                    <a:pt x="163" y="1390"/>
                  </a:lnTo>
                  <a:lnTo>
                    <a:pt x="163" y="1390"/>
                  </a:lnTo>
                  <a:lnTo>
                    <a:pt x="238" y="1330"/>
                  </a:lnTo>
                  <a:lnTo>
                    <a:pt x="266" y="1322"/>
                  </a:lnTo>
                  <a:lnTo>
                    <a:pt x="295" y="1313"/>
                  </a:lnTo>
                  <a:lnTo>
                    <a:pt x="324" y="1307"/>
                  </a:lnTo>
                  <a:lnTo>
                    <a:pt x="353" y="1297"/>
                  </a:lnTo>
                  <a:lnTo>
                    <a:pt x="380" y="1289"/>
                  </a:lnTo>
                  <a:lnTo>
                    <a:pt x="409" y="1280"/>
                  </a:lnTo>
                  <a:lnTo>
                    <a:pt x="438" y="1272"/>
                  </a:lnTo>
                  <a:lnTo>
                    <a:pt x="467" y="1262"/>
                  </a:lnTo>
                  <a:lnTo>
                    <a:pt x="496" y="1255"/>
                  </a:lnTo>
                  <a:lnTo>
                    <a:pt x="524" y="1245"/>
                  </a:lnTo>
                  <a:lnTo>
                    <a:pt x="553" y="1235"/>
                  </a:lnTo>
                  <a:lnTo>
                    <a:pt x="582" y="1227"/>
                  </a:lnTo>
                  <a:lnTo>
                    <a:pt x="611" y="1218"/>
                  </a:lnTo>
                  <a:lnTo>
                    <a:pt x="638" y="1208"/>
                  </a:lnTo>
                  <a:lnTo>
                    <a:pt x="667" y="1200"/>
                  </a:lnTo>
                  <a:lnTo>
                    <a:pt x="696" y="1191"/>
                  </a:lnTo>
                  <a:lnTo>
                    <a:pt x="723" y="1181"/>
                  </a:lnTo>
                  <a:lnTo>
                    <a:pt x="754" y="1173"/>
                  </a:lnTo>
                  <a:lnTo>
                    <a:pt x="781" y="1163"/>
                  </a:lnTo>
                  <a:lnTo>
                    <a:pt x="811" y="1156"/>
                  </a:lnTo>
                  <a:lnTo>
                    <a:pt x="838" y="1146"/>
                  </a:lnTo>
                  <a:lnTo>
                    <a:pt x="867" y="1138"/>
                  </a:lnTo>
                  <a:lnTo>
                    <a:pt x="896" y="1128"/>
                  </a:lnTo>
                  <a:lnTo>
                    <a:pt x="925" y="1121"/>
                  </a:lnTo>
                  <a:lnTo>
                    <a:pt x="952" y="1113"/>
                  </a:lnTo>
                  <a:lnTo>
                    <a:pt x="981" y="1105"/>
                  </a:lnTo>
                  <a:lnTo>
                    <a:pt x="1010" y="1097"/>
                  </a:lnTo>
                  <a:lnTo>
                    <a:pt x="1039" y="1090"/>
                  </a:lnTo>
                  <a:lnTo>
                    <a:pt x="1068" y="1082"/>
                  </a:lnTo>
                  <a:lnTo>
                    <a:pt x="1096" y="1076"/>
                  </a:lnTo>
                  <a:lnTo>
                    <a:pt x="1125" y="1068"/>
                  </a:lnTo>
                  <a:lnTo>
                    <a:pt x="1154" y="1063"/>
                  </a:lnTo>
                  <a:lnTo>
                    <a:pt x="1299" y="1024"/>
                  </a:lnTo>
                  <a:lnTo>
                    <a:pt x="1445" y="989"/>
                  </a:lnTo>
                  <a:lnTo>
                    <a:pt x="1592" y="952"/>
                  </a:lnTo>
                  <a:lnTo>
                    <a:pt x="1738" y="919"/>
                  </a:lnTo>
                  <a:lnTo>
                    <a:pt x="1885" y="886"/>
                  </a:lnTo>
                  <a:lnTo>
                    <a:pt x="2032" y="853"/>
                  </a:lnTo>
                  <a:lnTo>
                    <a:pt x="2178" y="824"/>
                  </a:lnTo>
                  <a:lnTo>
                    <a:pt x="2325" y="793"/>
                  </a:lnTo>
                  <a:lnTo>
                    <a:pt x="2473" y="766"/>
                  </a:lnTo>
                  <a:lnTo>
                    <a:pt x="2620" y="739"/>
                  </a:lnTo>
                  <a:lnTo>
                    <a:pt x="2767" y="714"/>
                  </a:lnTo>
                  <a:lnTo>
                    <a:pt x="2915" y="688"/>
                  </a:lnTo>
                  <a:lnTo>
                    <a:pt x="3060" y="665"/>
                  </a:lnTo>
                  <a:lnTo>
                    <a:pt x="3208" y="644"/>
                  </a:lnTo>
                  <a:lnTo>
                    <a:pt x="3355" y="622"/>
                  </a:lnTo>
                  <a:lnTo>
                    <a:pt x="3502" y="603"/>
                  </a:lnTo>
                  <a:lnTo>
                    <a:pt x="3650" y="586"/>
                  </a:lnTo>
                  <a:lnTo>
                    <a:pt x="3795" y="568"/>
                  </a:lnTo>
                  <a:lnTo>
                    <a:pt x="3943" y="553"/>
                  </a:lnTo>
                  <a:lnTo>
                    <a:pt x="4090" y="539"/>
                  </a:lnTo>
                  <a:lnTo>
                    <a:pt x="4235" y="525"/>
                  </a:lnTo>
                  <a:lnTo>
                    <a:pt x="4383" y="514"/>
                  </a:lnTo>
                  <a:lnTo>
                    <a:pt x="4528" y="502"/>
                  </a:lnTo>
                  <a:lnTo>
                    <a:pt x="4676" y="494"/>
                  </a:lnTo>
                  <a:lnTo>
                    <a:pt x="4821" y="487"/>
                  </a:lnTo>
                  <a:lnTo>
                    <a:pt x="4967" y="479"/>
                  </a:lnTo>
                  <a:lnTo>
                    <a:pt x="5112" y="475"/>
                  </a:lnTo>
                  <a:lnTo>
                    <a:pt x="5258" y="469"/>
                  </a:lnTo>
                  <a:lnTo>
                    <a:pt x="5401" y="467"/>
                  </a:lnTo>
                  <a:lnTo>
                    <a:pt x="5546" y="465"/>
                  </a:lnTo>
                  <a:lnTo>
                    <a:pt x="5690" y="465"/>
                  </a:lnTo>
                  <a:lnTo>
                    <a:pt x="5835" y="467"/>
                  </a:lnTo>
                  <a:lnTo>
                    <a:pt x="5845" y="462"/>
                  </a:lnTo>
                  <a:lnTo>
                    <a:pt x="5855" y="452"/>
                  </a:lnTo>
                  <a:lnTo>
                    <a:pt x="5861" y="438"/>
                  </a:lnTo>
                  <a:lnTo>
                    <a:pt x="5868" y="423"/>
                  </a:lnTo>
                  <a:lnTo>
                    <a:pt x="5872" y="403"/>
                  </a:lnTo>
                  <a:lnTo>
                    <a:pt x="5876" y="382"/>
                  </a:lnTo>
                  <a:lnTo>
                    <a:pt x="5878" y="363"/>
                  </a:lnTo>
                  <a:lnTo>
                    <a:pt x="5878" y="341"/>
                  </a:lnTo>
                  <a:lnTo>
                    <a:pt x="5872" y="291"/>
                  </a:lnTo>
                  <a:lnTo>
                    <a:pt x="5868" y="242"/>
                  </a:lnTo>
                  <a:lnTo>
                    <a:pt x="5866" y="194"/>
                  </a:lnTo>
                  <a:lnTo>
                    <a:pt x="5865" y="147"/>
                  </a:lnTo>
                  <a:lnTo>
                    <a:pt x="5863" y="126"/>
                  </a:lnTo>
                  <a:lnTo>
                    <a:pt x="5861" y="105"/>
                  </a:lnTo>
                  <a:lnTo>
                    <a:pt x="5857" y="85"/>
                  </a:lnTo>
                  <a:lnTo>
                    <a:pt x="5849" y="66"/>
                  </a:lnTo>
                  <a:lnTo>
                    <a:pt x="5843" y="47"/>
                  </a:lnTo>
                  <a:lnTo>
                    <a:pt x="5835" y="31"/>
                  </a:lnTo>
                  <a:lnTo>
                    <a:pt x="5828" y="14"/>
                  </a:lnTo>
                  <a:lnTo>
                    <a:pt x="5820" y="0"/>
                  </a:lnTo>
                  <a:lnTo>
                    <a:pt x="5638" y="8"/>
                  </a:lnTo>
                  <a:lnTo>
                    <a:pt x="5457" y="16"/>
                  </a:lnTo>
                  <a:lnTo>
                    <a:pt x="5277" y="27"/>
                  </a:lnTo>
                  <a:lnTo>
                    <a:pt x="5095" y="41"/>
                  </a:lnTo>
                  <a:lnTo>
                    <a:pt x="4914" y="54"/>
                  </a:lnTo>
                  <a:lnTo>
                    <a:pt x="4732" y="72"/>
                  </a:lnTo>
                  <a:lnTo>
                    <a:pt x="4552" y="89"/>
                  </a:lnTo>
                  <a:lnTo>
                    <a:pt x="4371" y="111"/>
                  </a:lnTo>
                  <a:lnTo>
                    <a:pt x="4189" y="132"/>
                  </a:lnTo>
                  <a:lnTo>
                    <a:pt x="4009" y="155"/>
                  </a:lnTo>
                  <a:lnTo>
                    <a:pt x="3828" y="180"/>
                  </a:lnTo>
                  <a:lnTo>
                    <a:pt x="3648" y="206"/>
                  </a:lnTo>
                  <a:lnTo>
                    <a:pt x="3466" y="233"/>
                  </a:lnTo>
                  <a:lnTo>
                    <a:pt x="3285" y="262"/>
                  </a:lnTo>
                  <a:lnTo>
                    <a:pt x="3105" y="295"/>
                  </a:lnTo>
                  <a:lnTo>
                    <a:pt x="2923" y="326"/>
                  </a:lnTo>
                  <a:lnTo>
                    <a:pt x="2742" y="361"/>
                  </a:lnTo>
                  <a:lnTo>
                    <a:pt x="2562" y="396"/>
                  </a:lnTo>
                  <a:lnTo>
                    <a:pt x="2381" y="434"/>
                  </a:lnTo>
                  <a:lnTo>
                    <a:pt x="2199" y="473"/>
                  </a:lnTo>
                  <a:lnTo>
                    <a:pt x="2019" y="514"/>
                  </a:lnTo>
                  <a:lnTo>
                    <a:pt x="1838" y="555"/>
                  </a:lnTo>
                  <a:lnTo>
                    <a:pt x="1656" y="599"/>
                  </a:lnTo>
                  <a:lnTo>
                    <a:pt x="1476" y="644"/>
                  </a:lnTo>
                  <a:lnTo>
                    <a:pt x="1293" y="690"/>
                  </a:lnTo>
                  <a:lnTo>
                    <a:pt x="1111" y="737"/>
                  </a:lnTo>
                  <a:lnTo>
                    <a:pt x="931" y="787"/>
                  </a:lnTo>
                  <a:lnTo>
                    <a:pt x="748" y="838"/>
                  </a:lnTo>
                  <a:lnTo>
                    <a:pt x="568" y="890"/>
                  </a:lnTo>
                  <a:lnTo>
                    <a:pt x="386" y="944"/>
                  </a:lnTo>
                  <a:lnTo>
                    <a:pt x="204" y="999"/>
                  </a:lnTo>
                  <a:lnTo>
                    <a:pt x="21" y="1055"/>
                  </a:lnTo>
                  <a:lnTo>
                    <a:pt x="17" y="1059"/>
                  </a:lnTo>
                  <a:lnTo>
                    <a:pt x="13" y="1063"/>
                  </a:lnTo>
                  <a:lnTo>
                    <a:pt x="10" y="1068"/>
                  </a:lnTo>
                  <a:lnTo>
                    <a:pt x="8" y="1076"/>
                  </a:lnTo>
                  <a:lnTo>
                    <a:pt x="6" y="1084"/>
                  </a:lnTo>
                  <a:lnTo>
                    <a:pt x="4" y="1094"/>
                  </a:lnTo>
                  <a:lnTo>
                    <a:pt x="2" y="1103"/>
                  </a:lnTo>
                  <a:lnTo>
                    <a:pt x="0" y="1115"/>
                  </a:lnTo>
                  <a:lnTo>
                    <a:pt x="4" y="1136"/>
                  </a:lnTo>
                  <a:lnTo>
                    <a:pt x="8" y="1158"/>
                  </a:lnTo>
                  <a:lnTo>
                    <a:pt x="13" y="1179"/>
                  </a:lnTo>
                  <a:lnTo>
                    <a:pt x="19" y="1200"/>
                  </a:lnTo>
                  <a:lnTo>
                    <a:pt x="25" y="1222"/>
                  </a:lnTo>
                  <a:lnTo>
                    <a:pt x="33" y="1241"/>
                  </a:lnTo>
                  <a:lnTo>
                    <a:pt x="41" y="1258"/>
                  </a:lnTo>
                  <a:lnTo>
                    <a:pt x="50" y="1278"/>
                  </a:lnTo>
                  <a:lnTo>
                    <a:pt x="60" y="1295"/>
                  </a:lnTo>
                  <a:lnTo>
                    <a:pt x="70" y="1311"/>
                  </a:lnTo>
                  <a:lnTo>
                    <a:pt x="81" y="1326"/>
                  </a:lnTo>
                  <a:lnTo>
                    <a:pt x="95" y="1342"/>
                  </a:lnTo>
                  <a:lnTo>
                    <a:pt x="108" y="1353"/>
                  </a:lnTo>
                  <a:lnTo>
                    <a:pt x="122" y="1367"/>
                  </a:lnTo>
                  <a:lnTo>
                    <a:pt x="138" y="1379"/>
                  </a:lnTo>
                  <a:lnTo>
                    <a:pt x="155" y="1390"/>
                  </a:lnTo>
                  <a:lnTo>
                    <a:pt x="155" y="1390"/>
                  </a:lnTo>
                  <a:lnTo>
                    <a:pt x="155" y="139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/>
            <a:lstStyle/>
            <a:p>
              <a:endParaRPr lang="de-DE">
                <a:latin typeface="NeulandFontEuro"/>
                <a:sym typeface="NeulandFontEuro"/>
              </a:endParaRPr>
            </a:p>
          </p:txBody>
        </p:sp>
        <p:sp>
          <p:nvSpPr>
            <p:cNvPr id="41" name="Freeform 22">
              <a:extLst>
                <a:ext uri="{FF2B5EF4-FFF2-40B4-BE49-F238E27FC236}">
                  <a16:creationId xmlns:a16="http://schemas.microsoft.com/office/drawing/2014/main" id="{BC50C6C0-2B2E-447E-9E26-D908B883968A}"/>
                </a:ext>
              </a:extLst>
            </p:cNvPr>
            <p:cNvSpPr>
              <a:spLocks/>
            </p:cNvSpPr>
            <p:nvPr/>
          </p:nvSpPr>
          <p:spPr bwMode="gray">
            <a:xfrm rot="9608534" flipH="1">
              <a:off x="3858375" y="4647150"/>
              <a:ext cx="1322152" cy="518020"/>
            </a:xfrm>
            <a:custGeom>
              <a:avLst/>
              <a:gdLst>
                <a:gd name="T0" fmla="*/ 159 w 5878"/>
                <a:gd name="T1" fmla="*/ 1390 h 1390"/>
                <a:gd name="T2" fmla="*/ 238 w 5878"/>
                <a:gd name="T3" fmla="*/ 1330 h 1390"/>
                <a:gd name="T4" fmla="*/ 324 w 5878"/>
                <a:gd name="T5" fmla="*/ 1307 h 1390"/>
                <a:gd name="T6" fmla="*/ 409 w 5878"/>
                <a:gd name="T7" fmla="*/ 1280 h 1390"/>
                <a:gd name="T8" fmla="*/ 496 w 5878"/>
                <a:gd name="T9" fmla="*/ 1255 h 1390"/>
                <a:gd name="T10" fmla="*/ 582 w 5878"/>
                <a:gd name="T11" fmla="*/ 1227 h 1390"/>
                <a:gd name="T12" fmla="*/ 667 w 5878"/>
                <a:gd name="T13" fmla="*/ 1200 h 1390"/>
                <a:gd name="T14" fmla="*/ 754 w 5878"/>
                <a:gd name="T15" fmla="*/ 1173 h 1390"/>
                <a:gd name="T16" fmla="*/ 838 w 5878"/>
                <a:gd name="T17" fmla="*/ 1146 h 1390"/>
                <a:gd name="T18" fmla="*/ 925 w 5878"/>
                <a:gd name="T19" fmla="*/ 1121 h 1390"/>
                <a:gd name="T20" fmla="*/ 1010 w 5878"/>
                <a:gd name="T21" fmla="*/ 1097 h 1390"/>
                <a:gd name="T22" fmla="*/ 1096 w 5878"/>
                <a:gd name="T23" fmla="*/ 1076 h 1390"/>
                <a:gd name="T24" fmla="*/ 1299 w 5878"/>
                <a:gd name="T25" fmla="*/ 1024 h 1390"/>
                <a:gd name="T26" fmla="*/ 1738 w 5878"/>
                <a:gd name="T27" fmla="*/ 919 h 1390"/>
                <a:gd name="T28" fmla="*/ 2178 w 5878"/>
                <a:gd name="T29" fmla="*/ 824 h 1390"/>
                <a:gd name="T30" fmla="*/ 2620 w 5878"/>
                <a:gd name="T31" fmla="*/ 739 h 1390"/>
                <a:gd name="T32" fmla="*/ 3060 w 5878"/>
                <a:gd name="T33" fmla="*/ 665 h 1390"/>
                <a:gd name="T34" fmla="*/ 3502 w 5878"/>
                <a:gd name="T35" fmla="*/ 603 h 1390"/>
                <a:gd name="T36" fmla="*/ 3943 w 5878"/>
                <a:gd name="T37" fmla="*/ 553 h 1390"/>
                <a:gd name="T38" fmla="*/ 4383 w 5878"/>
                <a:gd name="T39" fmla="*/ 514 h 1390"/>
                <a:gd name="T40" fmla="*/ 4821 w 5878"/>
                <a:gd name="T41" fmla="*/ 487 h 1390"/>
                <a:gd name="T42" fmla="*/ 5258 w 5878"/>
                <a:gd name="T43" fmla="*/ 469 h 1390"/>
                <a:gd name="T44" fmla="*/ 5690 w 5878"/>
                <a:gd name="T45" fmla="*/ 465 h 1390"/>
                <a:gd name="T46" fmla="*/ 5855 w 5878"/>
                <a:gd name="T47" fmla="*/ 452 h 1390"/>
                <a:gd name="T48" fmla="*/ 5872 w 5878"/>
                <a:gd name="T49" fmla="*/ 403 h 1390"/>
                <a:gd name="T50" fmla="*/ 5878 w 5878"/>
                <a:gd name="T51" fmla="*/ 341 h 1390"/>
                <a:gd name="T52" fmla="*/ 5866 w 5878"/>
                <a:gd name="T53" fmla="*/ 194 h 1390"/>
                <a:gd name="T54" fmla="*/ 5861 w 5878"/>
                <a:gd name="T55" fmla="*/ 105 h 1390"/>
                <a:gd name="T56" fmla="*/ 5843 w 5878"/>
                <a:gd name="T57" fmla="*/ 47 h 1390"/>
                <a:gd name="T58" fmla="*/ 5820 w 5878"/>
                <a:gd name="T59" fmla="*/ 0 h 1390"/>
                <a:gd name="T60" fmla="*/ 5277 w 5878"/>
                <a:gd name="T61" fmla="*/ 27 h 1390"/>
                <a:gd name="T62" fmla="*/ 4732 w 5878"/>
                <a:gd name="T63" fmla="*/ 72 h 1390"/>
                <a:gd name="T64" fmla="*/ 4189 w 5878"/>
                <a:gd name="T65" fmla="*/ 132 h 1390"/>
                <a:gd name="T66" fmla="*/ 3648 w 5878"/>
                <a:gd name="T67" fmla="*/ 206 h 1390"/>
                <a:gd name="T68" fmla="*/ 3105 w 5878"/>
                <a:gd name="T69" fmla="*/ 295 h 1390"/>
                <a:gd name="T70" fmla="*/ 2562 w 5878"/>
                <a:gd name="T71" fmla="*/ 396 h 1390"/>
                <a:gd name="T72" fmla="*/ 2019 w 5878"/>
                <a:gd name="T73" fmla="*/ 514 h 1390"/>
                <a:gd name="T74" fmla="*/ 1476 w 5878"/>
                <a:gd name="T75" fmla="*/ 644 h 1390"/>
                <a:gd name="T76" fmla="*/ 931 w 5878"/>
                <a:gd name="T77" fmla="*/ 787 h 1390"/>
                <a:gd name="T78" fmla="*/ 386 w 5878"/>
                <a:gd name="T79" fmla="*/ 944 h 1390"/>
                <a:gd name="T80" fmla="*/ 17 w 5878"/>
                <a:gd name="T81" fmla="*/ 1059 h 1390"/>
                <a:gd name="T82" fmla="*/ 8 w 5878"/>
                <a:gd name="T83" fmla="*/ 1076 h 1390"/>
                <a:gd name="T84" fmla="*/ 2 w 5878"/>
                <a:gd name="T85" fmla="*/ 1103 h 1390"/>
                <a:gd name="T86" fmla="*/ 8 w 5878"/>
                <a:gd name="T87" fmla="*/ 1158 h 1390"/>
                <a:gd name="T88" fmla="*/ 25 w 5878"/>
                <a:gd name="T89" fmla="*/ 1222 h 1390"/>
                <a:gd name="T90" fmla="*/ 50 w 5878"/>
                <a:gd name="T91" fmla="*/ 1278 h 1390"/>
                <a:gd name="T92" fmla="*/ 81 w 5878"/>
                <a:gd name="T93" fmla="*/ 1326 h 1390"/>
                <a:gd name="T94" fmla="*/ 122 w 5878"/>
                <a:gd name="T95" fmla="*/ 1367 h 1390"/>
                <a:gd name="T96" fmla="*/ 155 w 5878"/>
                <a:gd name="T97" fmla="*/ 1390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78" h="1390">
                  <a:moveTo>
                    <a:pt x="155" y="1390"/>
                  </a:moveTo>
                  <a:lnTo>
                    <a:pt x="157" y="1390"/>
                  </a:lnTo>
                  <a:lnTo>
                    <a:pt x="159" y="1390"/>
                  </a:lnTo>
                  <a:lnTo>
                    <a:pt x="163" y="1390"/>
                  </a:lnTo>
                  <a:lnTo>
                    <a:pt x="163" y="1390"/>
                  </a:lnTo>
                  <a:lnTo>
                    <a:pt x="238" y="1330"/>
                  </a:lnTo>
                  <a:lnTo>
                    <a:pt x="266" y="1322"/>
                  </a:lnTo>
                  <a:lnTo>
                    <a:pt x="295" y="1313"/>
                  </a:lnTo>
                  <a:lnTo>
                    <a:pt x="324" y="1307"/>
                  </a:lnTo>
                  <a:lnTo>
                    <a:pt x="353" y="1297"/>
                  </a:lnTo>
                  <a:lnTo>
                    <a:pt x="380" y="1289"/>
                  </a:lnTo>
                  <a:lnTo>
                    <a:pt x="409" y="1280"/>
                  </a:lnTo>
                  <a:lnTo>
                    <a:pt x="438" y="1272"/>
                  </a:lnTo>
                  <a:lnTo>
                    <a:pt x="467" y="1262"/>
                  </a:lnTo>
                  <a:lnTo>
                    <a:pt x="496" y="1255"/>
                  </a:lnTo>
                  <a:lnTo>
                    <a:pt x="524" y="1245"/>
                  </a:lnTo>
                  <a:lnTo>
                    <a:pt x="553" y="1235"/>
                  </a:lnTo>
                  <a:lnTo>
                    <a:pt x="582" y="1227"/>
                  </a:lnTo>
                  <a:lnTo>
                    <a:pt x="611" y="1218"/>
                  </a:lnTo>
                  <a:lnTo>
                    <a:pt x="638" y="1208"/>
                  </a:lnTo>
                  <a:lnTo>
                    <a:pt x="667" y="1200"/>
                  </a:lnTo>
                  <a:lnTo>
                    <a:pt x="696" y="1191"/>
                  </a:lnTo>
                  <a:lnTo>
                    <a:pt x="723" y="1181"/>
                  </a:lnTo>
                  <a:lnTo>
                    <a:pt x="754" y="1173"/>
                  </a:lnTo>
                  <a:lnTo>
                    <a:pt x="781" y="1163"/>
                  </a:lnTo>
                  <a:lnTo>
                    <a:pt x="811" y="1156"/>
                  </a:lnTo>
                  <a:lnTo>
                    <a:pt x="838" y="1146"/>
                  </a:lnTo>
                  <a:lnTo>
                    <a:pt x="867" y="1138"/>
                  </a:lnTo>
                  <a:lnTo>
                    <a:pt x="896" y="1128"/>
                  </a:lnTo>
                  <a:lnTo>
                    <a:pt x="925" y="1121"/>
                  </a:lnTo>
                  <a:lnTo>
                    <a:pt x="952" y="1113"/>
                  </a:lnTo>
                  <a:lnTo>
                    <a:pt x="981" y="1105"/>
                  </a:lnTo>
                  <a:lnTo>
                    <a:pt x="1010" y="1097"/>
                  </a:lnTo>
                  <a:lnTo>
                    <a:pt x="1039" y="1090"/>
                  </a:lnTo>
                  <a:lnTo>
                    <a:pt x="1068" y="1082"/>
                  </a:lnTo>
                  <a:lnTo>
                    <a:pt x="1096" y="1076"/>
                  </a:lnTo>
                  <a:lnTo>
                    <a:pt x="1125" y="1068"/>
                  </a:lnTo>
                  <a:lnTo>
                    <a:pt x="1154" y="1063"/>
                  </a:lnTo>
                  <a:lnTo>
                    <a:pt x="1299" y="1024"/>
                  </a:lnTo>
                  <a:lnTo>
                    <a:pt x="1445" y="989"/>
                  </a:lnTo>
                  <a:lnTo>
                    <a:pt x="1592" y="952"/>
                  </a:lnTo>
                  <a:lnTo>
                    <a:pt x="1738" y="919"/>
                  </a:lnTo>
                  <a:lnTo>
                    <a:pt x="1885" y="886"/>
                  </a:lnTo>
                  <a:lnTo>
                    <a:pt x="2032" y="853"/>
                  </a:lnTo>
                  <a:lnTo>
                    <a:pt x="2178" y="824"/>
                  </a:lnTo>
                  <a:lnTo>
                    <a:pt x="2325" y="793"/>
                  </a:lnTo>
                  <a:lnTo>
                    <a:pt x="2473" y="766"/>
                  </a:lnTo>
                  <a:lnTo>
                    <a:pt x="2620" y="739"/>
                  </a:lnTo>
                  <a:lnTo>
                    <a:pt x="2767" y="714"/>
                  </a:lnTo>
                  <a:lnTo>
                    <a:pt x="2915" y="688"/>
                  </a:lnTo>
                  <a:lnTo>
                    <a:pt x="3060" y="665"/>
                  </a:lnTo>
                  <a:lnTo>
                    <a:pt x="3208" y="644"/>
                  </a:lnTo>
                  <a:lnTo>
                    <a:pt x="3355" y="622"/>
                  </a:lnTo>
                  <a:lnTo>
                    <a:pt x="3502" y="603"/>
                  </a:lnTo>
                  <a:lnTo>
                    <a:pt x="3650" y="586"/>
                  </a:lnTo>
                  <a:lnTo>
                    <a:pt x="3795" y="568"/>
                  </a:lnTo>
                  <a:lnTo>
                    <a:pt x="3943" y="553"/>
                  </a:lnTo>
                  <a:lnTo>
                    <a:pt x="4090" y="539"/>
                  </a:lnTo>
                  <a:lnTo>
                    <a:pt x="4235" y="525"/>
                  </a:lnTo>
                  <a:lnTo>
                    <a:pt x="4383" y="514"/>
                  </a:lnTo>
                  <a:lnTo>
                    <a:pt x="4528" y="502"/>
                  </a:lnTo>
                  <a:lnTo>
                    <a:pt x="4676" y="494"/>
                  </a:lnTo>
                  <a:lnTo>
                    <a:pt x="4821" y="487"/>
                  </a:lnTo>
                  <a:lnTo>
                    <a:pt x="4967" y="479"/>
                  </a:lnTo>
                  <a:lnTo>
                    <a:pt x="5112" y="475"/>
                  </a:lnTo>
                  <a:lnTo>
                    <a:pt x="5258" y="469"/>
                  </a:lnTo>
                  <a:lnTo>
                    <a:pt x="5401" y="467"/>
                  </a:lnTo>
                  <a:lnTo>
                    <a:pt x="5546" y="465"/>
                  </a:lnTo>
                  <a:lnTo>
                    <a:pt x="5690" y="465"/>
                  </a:lnTo>
                  <a:lnTo>
                    <a:pt x="5835" y="467"/>
                  </a:lnTo>
                  <a:lnTo>
                    <a:pt x="5845" y="462"/>
                  </a:lnTo>
                  <a:lnTo>
                    <a:pt x="5855" y="452"/>
                  </a:lnTo>
                  <a:lnTo>
                    <a:pt x="5861" y="438"/>
                  </a:lnTo>
                  <a:lnTo>
                    <a:pt x="5868" y="423"/>
                  </a:lnTo>
                  <a:lnTo>
                    <a:pt x="5872" y="403"/>
                  </a:lnTo>
                  <a:lnTo>
                    <a:pt x="5876" y="382"/>
                  </a:lnTo>
                  <a:lnTo>
                    <a:pt x="5878" y="363"/>
                  </a:lnTo>
                  <a:lnTo>
                    <a:pt x="5878" y="341"/>
                  </a:lnTo>
                  <a:lnTo>
                    <a:pt x="5872" y="291"/>
                  </a:lnTo>
                  <a:lnTo>
                    <a:pt x="5868" y="242"/>
                  </a:lnTo>
                  <a:lnTo>
                    <a:pt x="5866" y="194"/>
                  </a:lnTo>
                  <a:lnTo>
                    <a:pt x="5865" y="147"/>
                  </a:lnTo>
                  <a:lnTo>
                    <a:pt x="5863" y="126"/>
                  </a:lnTo>
                  <a:lnTo>
                    <a:pt x="5861" y="105"/>
                  </a:lnTo>
                  <a:lnTo>
                    <a:pt x="5857" y="85"/>
                  </a:lnTo>
                  <a:lnTo>
                    <a:pt x="5849" y="66"/>
                  </a:lnTo>
                  <a:lnTo>
                    <a:pt x="5843" y="47"/>
                  </a:lnTo>
                  <a:lnTo>
                    <a:pt x="5835" y="31"/>
                  </a:lnTo>
                  <a:lnTo>
                    <a:pt x="5828" y="14"/>
                  </a:lnTo>
                  <a:lnTo>
                    <a:pt x="5820" y="0"/>
                  </a:lnTo>
                  <a:lnTo>
                    <a:pt x="5638" y="8"/>
                  </a:lnTo>
                  <a:lnTo>
                    <a:pt x="5457" y="16"/>
                  </a:lnTo>
                  <a:lnTo>
                    <a:pt x="5277" y="27"/>
                  </a:lnTo>
                  <a:lnTo>
                    <a:pt x="5095" y="41"/>
                  </a:lnTo>
                  <a:lnTo>
                    <a:pt x="4914" y="54"/>
                  </a:lnTo>
                  <a:lnTo>
                    <a:pt x="4732" y="72"/>
                  </a:lnTo>
                  <a:lnTo>
                    <a:pt x="4552" y="89"/>
                  </a:lnTo>
                  <a:lnTo>
                    <a:pt x="4371" y="111"/>
                  </a:lnTo>
                  <a:lnTo>
                    <a:pt x="4189" y="132"/>
                  </a:lnTo>
                  <a:lnTo>
                    <a:pt x="4009" y="155"/>
                  </a:lnTo>
                  <a:lnTo>
                    <a:pt x="3828" y="180"/>
                  </a:lnTo>
                  <a:lnTo>
                    <a:pt x="3648" y="206"/>
                  </a:lnTo>
                  <a:lnTo>
                    <a:pt x="3466" y="233"/>
                  </a:lnTo>
                  <a:lnTo>
                    <a:pt x="3285" y="262"/>
                  </a:lnTo>
                  <a:lnTo>
                    <a:pt x="3105" y="295"/>
                  </a:lnTo>
                  <a:lnTo>
                    <a:pt x="2923" y="326"/>
                  </a:lnTo>
                  <a:lnTo>
                    <a:pt x="2742" y="361"/>
                  </a:lnTo>
                  <a:lnTo>
                    <a:pt x="2562" y="396"/>
                  </a:lnTo>
                  <a:lnTo>
                    <a:pt x="2381" y="434"/>
                  </a:lnTo>
                  <a:lnTo>
                    <a:pt x="2199" y="473"/>
                  </a:lnTo>
                  <a:lnTo>
                    <a:pt x="2019" y="514"/>
                  </a:lnTo>
                  <a:lnTo>
                    <a:pt x="1838" y="555"/>
                  </a:lnTo>
                  <a:lnTo>
                    <a:pt x="1656" y="599"/>
                  </a:lnTo>
                  <a:lnTo>
                    <a:pt x="1476" y="644"/>
                  </a:lnTo>
                  <a:lnTo>
                    <a:pt x="1293" y="690"/>
                  </a:lnTo>
                  <a:lnTo>
                    <a:pt x="1111" y="737"/>
                  </a:lnTo>
                  <a:lnTo>
                    <a:pt x="931" y="787"/>
                  </a:lnTo>
                  <a:lnTo>
                    <a:pt x="748" y="838"/>
                  </a:lnTo>
                  <a:lnTo>
                    <a:pt x="568" y="890"/>
                  </a:lnTo>
                  <a:lnTo>
                    <a:pt x="386" y="944"/>
                  </a:lnTo>
                  <a:lnTo>
                    <a:pt x="204" y="999"/>
                  </a:lnTo>
                  <a:lnTo>
                    <a:pt x="21" y="1055"/>
                  </a:lnTo>
                  <a:lnTo>
                    <a:pt x="17" y="1059"/>
                  </a:lnTo>
                  <a:lnTo>
                    <a:pt x="13" y="1063"/>
                  </a:lnTo>
                  <a:lnTo>
                    <a:pt x="10" y="1068"/>
                  </a:lnTo>
                  <a:lnTo>
                    <a:pt x="8" y="1076"/>
                  </a:lnTo>
                  <a:lnTo>
                    <a:pt x="6" y="1084"/>
                  </a:lnTo>
                  <a:lnTo>
                    <a:pt x="4" y="1094"/>
                  </a:lnTo>
                  <a:lnTo>
                    <a:pt x="2" y="1103"/>
                  </a:lnTo>
                  <a:lnTo>
                    <a:pt x="0" y="1115"/>
                  </a:lnTo>
                  <a:lnTo>
                    <a:pt x="4" y="1136"/>
                  </a:lnTo>
                  <a:lnTo>
                    <a:pt x="8" y="1158"/>
                  </a:lnTo>
                  <a:lnTo>
                    <a:pt x="13" y="1179"/>
                  </a:lnTo>
                  <a:lnTo>
                    <a:pt x="19" y="1200"/>
                  </a:lnTo>
                  <a:lnTo>
                    <a:pt x="25" y="1222"/>
                  </a:lnTo>
                  <a:lnTo>
                    <a:pt x="33" y="1241"/>
                  </a:lnTo>
                  <a:lnTo>
                    <a:pt x="41" y="1258"/>
                  </a:lnTo>
                  <a:lnTo>
                    <a:pt x="50" y="1278"/>
                  </a:lnTo>
                  <a:lnTo>
                    <a:pt x="60" y="1295"/>
                  </a:lnTo>
                  <a:lnTo>
                    <a:pt x="70" y="1311"/>
                  </a:lnTo>
                  <a:lnTo>
                    <a:pt x="81" y="1326"/>
                  </a:lnTo>
                  <a:lnTo>
                    <a:pt x="95" y="1342"/>
                  </a:lnTo>
                  <a:lnTo>
                    <a:pt x="108" y="1353"/>
                  </a:lnTo>
                  <a:lnTo>
                    <a:pt x="122" y="1367"/>
                  </a:lnTo>
                  <a:lnTo>
                    <a:pt x="138" y="1379"/>
                  </a:lnTo>
                  <a:lnTo>
                    <a:pt x="155" y="1390"/>
                  </a:lnTo>
                  <a:lnTo>
                    <a:pt x="155" y="1390"/>
                  </a:lnTo>
                  <a:lnTo>
                    <a:pt x="155" y="1390"/>
                  </a:lnTo>
                  <a:close/>
                </a:path>
              </a:pathLst>
            </a:custGeom>
            <a:grpFill/>
            <a:ln>
              <a:noFill/>
            </a:ln>
            <a:effectLst/>
          </p:spPr>
          <p:txBody>
            <a:bodyPr/>
            <a:lstStyle/>
            <a:p>
              <a:endParaRPr lang="de-DE">
                <a:latin typeface="NeulandFontEuro"/>
                <a:sym typeface="NeulandFontEuro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45389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xte lassen sich einfach mit Aufzählungsebenen verseh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63FFF309-7B43-4697-A594-9877CC163A2D}" type="slidenum">
              <a:rPr lang="de-DE" sz="800" smtClean="0"/>
              <a:pPr algn="r"/>
              <a:t>4</a:t>
            </a:fld>
            <a:endParaRPr lang="de-DE" sz="800" dirty="0"/>
          </a:p>
        </p:txBody>
      </p:sp>
      <p:sp>
        <p:nvSpPr>
          <p:cNvPr id="116" name="Rechteck 122"/>
          <p:cNvSpPr/>
          <p:nvPr/>
        </p:nvSpPr>
        <p:spPr bwMode="auto">
          <a:xfrm>
            <a:off x="657856" y="2576736"/>
            <a:ext cx="5675461" cy="582195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0000"/>
                </a:schemeClr>
              </a:gs>
              <a:gs pos="53000">
                <a:schemeClr val="bg1">
                  <a:lumMod val="98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18" name="Rectangle 4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17993" y="2792760"/>
            <a:ext cx="5491327" cy="363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46800" rIns="36000" bIns="46800" anchor="t" anchorCtr="0"/>
          <a:lstStyle/>
          <a:p>
            <a:r>
              <a:rPr lang="de-DE" sz="1200" dirty="0"/>
              <a:t>Ändern einer Dot-Ebene in eine Long-Dash- oder Short-Dash-Ebene</a:t>
            </a:r>
          </a:p>
        </p:txBody>
      </p:sp>
      <p:sp>
        <p:nvSpPr>
          <p:cNvPr id="129" name="Rounded Rectangle 273"/>
          <p:cNvSpPr/>
          <p:nvPr>
            <p:custDataLst>
              <p:tags r:id="rId2"/>
            </p:custDataLst>
          </p:nvPr>
        </p:nvSpPr>
        <p:spPr bwMode="auto">
          <a:xfrm>
            <a:off x="830977" y="3582021"/>
            <a:ext cx="582975" cy="418534"/>
          </a:xfrm>
          <a:prstGeom prst="roundRect">
            <a:avLst>
              <a:gd name="adj" fmla="val 20122"/>
            </a:avLst>
          </a:prstGeom>
          <a:solidFill>
            <a:srgbClr val="B7B9BC"/>
          </a:solidFill>
          <a:ln w="9525" cap="flat" cmpd="sng" algn="ctr">
            <a:solidFill>
              <a:srgbClr val="B7B9BC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threePt" dir="t"/>
          </a:scene3d>
          <a:sp3d>
            <a:bevelT w="44450" h="44450" prst="angle"/>
            <a:bevelB w="0" h="0"/>
          </a:sp3d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rPr>
              <a:t>Alt</a:t>
            </a:r>
          </a:p>
        </p:txBody>
      </p:sp>
      <p:sp>
        <p:nvSpPr>
          <p:cNvPr id="130" name="Textfeld 324"/>
          <p:cNvSpPr txBox="1"/>
          <p:nvPr>
            <p:custDataLst>
              <p:tags r:id="rId3"/>
            </p:custDataLst>
          </p:nvPr>
        </p:nvSpPr>
        <p:spPr>
          <a:xfrm>
            <a:off x="1481963" y="3607708"/>
            <a:ext cx="15388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2400" b="1" dirty="0">
                <a:latin typeface="Calibri" pitchFamily="34" charset="0"/>
              </a:rPr>
              <a:t>+</a:t>
            </a:r>
          </a:p>
        </p:txBody>
      </p:sp>
      <p:sp>
        <p:nvSpPr>
          <p:cNvPr id="131" name="Textfeld 324"/>
          <p:cNvSpPr txBox="1"/>
          <p:nvPr>
            <p:custDataLst>
              <p:tags r:id="rId4"/>
            </p:custDataLst>
          </p:nvPr>
        </p:nvSpPr>
        <p:spPr>
          <a:xfrm>
            <a:off x="1481963" y="4343544"/>
            <a:ext cx="15388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2400" b="1">
                <a:latin typeface="Calibri" pitchFamily="34" charset="0"/>
              </a:rPr>
              <a:t>+</a:t>
            </a:r>
            <a:endParaRPr lang="de-DE" sz="2400" b="1" dirty="0">
              <a:latin typeface="Calibri" pitchFamily="34" charset="0"/>
            </a:endParaRPr>
          </a:p>
        </p:txBody>
      </p:sp>
      <p:sp>
        <p:nvSpPr>
          <p:cNvPr id="132" name="Rounded Rectangle 273"/>
          <p:cNvSpPr/>
          <p:nvPr>
            <p:custDataLst>
              <p:tags r:id="rId5"/>
            </p:custDataLst>
          </p:nvPr>
        </p:nvSpPr>
        <p:spPr bwMode="auto">
          <a:xfrm>
            <a:off x="830977" y="4321921"/>
            <a:ext cx="582975" cy="418534"/>
          </a:xfrm>
          <a:prstGeom prst="roundRect">
            <a:avLst>
              <a:gd name="adj" fmla="val 20122"/>
            </a:avLst>
          </a:prstGeom>
          <a:solidFill>
            <a:srgbClr val="B7B9BC"/>
          </a:solidFill>
          <a:ln w="9525" cap="flat" cmpd="sng" algn="ctr">
            <a:solidFill>
              <a:srgbClr val="B7B9BC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threePt" dir="t"/>
          </a:scene3d>
          <a:sp3d>
            <a:bevelT w="44450" h="44450" prst="angle"/>
            <a:bevelB w="0" h="0"/>
          </a:sp3d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rPr>
              <a:t>Alt</a:t>
            </a:r>
          </a:p>
        </p:txBody>
      </p:sp>
      <p:sp>
        <p:nvSpPr>
          <p:cNvPr id="133" name="Rounded Rectangle 261"/>
          <p:cNvSpPr/>
          <p:nvPr>
            <p:custDataLst>
              <p:tags r:id="rId6"/>
            </p:custDataLst>
          </p:nvPr>
        </p:nvSpPr>
        <p:spPr bwMode="auto">
          <a:xfrm>
            <a:off x="1701928" y="3582022"/>
            <a:ext cx="778562" cy="418532"/>
          </a:xfrm>
          <a:prstGeom prst="roundRect">
            <a:avLst>
              <a:gd name="adj" fmla="val 20122"/>
            </a:avLst>
          </a:prstGeom>
          <a:solidFill>
            <a:srgbClr val="B7B9BC"/>
          </a:solidFill>
          <a:ln w="9525" cap="flat" cmpd="sng" algn="ctr">
            <a:solidFill>
              <a:srgbClr val="B7B9BC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threePt" dir="t"/>
          </a:scene3d>
          <a:sp3d>
            <a:bevelT w="44450" h="44450" prst="angle"/>
            <a:bevelB w="0" h="0"/>
          </a:sp3d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/>
              </a:rPr>
              <a:t> </a:t>
            </a: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sym typeface="Wingdings"/>
              </a:rPr>
              <a:t> </a:t>
            </a: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/>
              </a:rPr>
              <a:t>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4" name="Textfeld 314"/>
          <p:cNvSpPr txBox="1"/>
          <p:nvPr>
            <p:custDataLst>
              <p:tags r:id="rId7"/>
            </p:custDataLst>
          </p:nvPr>
        </p:nvSpPr>
        <p:spPr>
          <a:xfrm>
            <a:off x="2557276" y="3607708"/>
            <a:ext cx="15388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2400" b="1">
                <a:latin typeface="Calibri" pitchFamily="34" charset="0"/>
              </a:rPr>
              <a:t>+</a:t>
            </a:r>
            <a:endParaRPr lang="de-DE" sz="2400" b="1" dirty="0">
              <a:latin typeface="Calibri" pitchFamily="34" charset="0"/>
            </a:endParaRPr>
          </a:p>
        </p:txBody>
      </p:sp>
      <p:sp>
        <p:nvSpPr>
          <p:cNvPr id="135" name="Rounded Rectangle 261"/>
          <p:cNvSpPr/>
          <p:nvPr>
            <p:custDataLst>
              <p:tags r:id="rId8"/>
            </p:custDataLst>
          </p:nvPr>
        </p:nvSpPr>
        <p:spPr bwMode="auto">
          <a:xfrm>
            <a:off x="1701928" y="4321923"/>
            <a:ext cx="778562" cy="418532"/>
          </a:xfrm>
          <a:prstGeom prst="roundRect">
            <a:avLst>
              <a:gd name="adj" fmla="val 20122"/>
            </a:avLst>
          </a:prstGeom>
          <a:solidFill>
            <a:srgbClr val="B7B9BC"/>
          </a:solidFill>
          <a:ln w="9525" cap="flat" cmpd="sng" algn="ctr">
            <a:solidFill>
              <a:srgbClr val="B7B9BC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threePt" dir="t"/>
          </a:scene3d>
          <a:sp3d>
            <a:bevelT w="44450" h="44450" prst="angle"/>
            <a:bevelB w="0" h="0"/>
          </a:sp3d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/>
              </a:rPr>
              <a:t> </a:t>
            </a: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sym typeface="Wingdings"/>
              </a:rPr>
              <a:t> </a:t>
            </a: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/>
              </a:rPr>
              <a:t>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6" name="Textfeld 314"/>
          <p:cNvSpPr txBox="1"/>
          <p:nvPr>
            <p:custDataLst>
              <p:tags r:id="rId9"/>
            </p:custDataLst>
          </p:nvPr>
        </p:nvSpPr>
        <p:spPr>
          <a:xfrm>
            <a:off x="2557276" y="4343544"/>
            <a:ext cx="15388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2400" b="1">
                <a:latin typeface="Calibri" pitchFamily="34" charset="0"/>
              </a:rPr>
              <a:t>+</a:t>
            </a:r>
            <a:endParaRPr lang="de-DE" sz="2400" b="1" dirty="0">
              <a:latin typeface="Calibri" pitchFamily="34" charset="0"/>
            </a:endParaRPr>
          </a:p>
        </p:txBody>
      </p:sp>
      <p:sp>
        <p:nvSpPr>
          <p:cNvPr id="137" name="Rounded Rectangle 265"/>
          <p:cNvSpPr/>
          <p:nvPr>
            <p:custDataLst>
              <p:tags r:id="rId10"/>
            </p:custDataLst>
          </p:nvPr>
        </p:nvSpPr>
        <p:spPr bwMode="auto">
          <a:xfrm>
            <a:off x="2749160" y="4321923"/>
            <a:ext cx="440062" cy="418532"/>
          </a:xfrm>
          <a:prstGeom prst="roundRect">
            <a:avLst>
              <a:gd name="adj" fmla="val 20122"/>
            </a:avLst>
          </a:prstGeom>
          <a:solidFill>
            <a:sysClr val="window" lastClr="FFFFFF"/>
          </a:solidFill>
          <a:ln w="9525" cap="flat" cmpd="sng" algn="ctr">
            <a:solidFill>
              <a:srgbClr val="B7B9BC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threePt" dir="t"/>
          </a:scene3d>
          <a:sp3d>
            <a:bevelT w="44450" h="44450" prst="angle"/>
            <a:bevelB w="0" h="0"/>
          </a:sp3d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/>
              </a:rPr>
              <a:t>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8" name="Rounded Rectangle 265"/>
          <p:cNvSpPr/>
          <p:nvPr>
            <p:custDataLst>
              <p:tags r:id="rId11"/>
            </p:custDataLst>
          </p:nvPr>
        </p:nvSpPr>
        <p:spPr bwMode="auto">
          <a:xfrm>
            <a:off x="2749160" y="3582022"/>
            <a:ext cx="440062" cy="418532"/>
          </a:xfrm>
          <a:prstGeom prst="roundRect">
            <a:avLst>
              <a:gd name="adj" fmla="val 20122"/>
            </a:avLst>
          </a:prstGeom>
          <a:solidFill>
            <a:sysClr val="window" lastClr="FFFFFF"/>
          </a:solidFill>
          <a:ln w="9525" cap="flat" cmpd="sng" algn="ctr">
            <a:solidFill>
              <a:srgbClr val="B7B9BC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threePt" dir="t"/>
          </a:scene3d>
          <a:sp3d>
            <a:bevelT w="44450" h="44450" prst="angle"/>
            <a:bevelB w="0" h="0"/>
          </a:sp3d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/>
              </a:rPr>
              <a:t>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4" name="Rounded Rectangle 265"/>
          <p:cNvSpPr/>
          <p:nvPr>
            <p:custDataLst>
              <p:tags r:id="rId12"/>
            </p:custDataLst>
          </p:nvPr>
        </p:nvSpPr>
        <p:spPr bwMode="auto">
          <a:xfrm>
            <a:off x="2745306" y="7353878"/>
            <a:ext cx="443916" cy="422198"/>
          </a:xfrm>
          <a:prstGeom prst="roundRect">
            <a:avLst>
              <a:gd name="adj" fmla="val 20122"/>
            </a:avLst>
          </a:prstGeom>
          <a:solidFill>
            <a:sysClr val="window" lastClr="FFFFFF"/>
          </a:solidFill>
          <a:ln w="9525" cap="flat" cmpd="sng" algn="ctr">
            <a:solidFill>
              <a:srgbClr val="B7B9BC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threePt" dir="t"/>
          </a:scene3d>
          <a:sp3d>
            <a:bevelT w="44450" h="44450" prst="angle"/>
            <a:bevelB w="0" h="0"/>
          </a:sp3d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/>
              </a:rPr>
              <a:t>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5" name="Rounded Rectangle 265"/>
          <p:cNvSpPr/>
          <p:nvPr>
            <p:custDataLst>
              <p:tags r:id="rId13"/>
            </p:custDataLst>
          </p:nvPr>
        </p:nvSpPr>
        <p:spPr bwMode="auto">
          <a:xfrm>
            <a:off x="2745306" y="6607496"/>
            <a:ext cx="443916" cy="422198"/>
          </a:xfrm>
          <a:prstGeom prst="roundRect">
            <a:avLst>
              <a:gd name="adj" fmla="val 20122"/>
            </a:avLst>
          </a:prstGeom>
          <a:solidFill>
            <a:sysClr val="window" lastClr="FFFFFF"/>
          </a:solidFill>
          <a:ln w="9525" cap="flat" cmpd="sng" algn="ctr">
            <a:solidFill>
              <a:srgbClr val="B7B9BC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threePt" dir="t"/>
          </a:scene3d>
          <a:sp3d>
            <a:bevelT w="44450" h="44450" prst="angle"/>
            <a:bevelB w="0" h="0"/>
          </a:sp3d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/>
              </a:rPr>
              <a:t>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9" name="Rounded Rectangle 273"/>
          <p:cNvSpPr/>
          <p:nvPr>
            <p:custDataLst>
              <p:tags r:id="rId14"/>
            </p:custDataLst>
          </p:nvPr>
        </p:nvSpPr>
        <p:spPr bwMode="auto">
          <a:xfrm>
            <a:off x="825870" y="6607494"/>
            <a:ext cx="588082" cy="422200"/>
          </a:xfrm>
          <a:prstGeom prst="roundRect">
            <a:avLst>
              <a:gd name="adj" fmla="val 20122"/>
            </a:avLst>
          </a:prstGeom>
          <a:solidFill>
            <a:srgbClr val="B7B9BC"/>
          </a:solidFill>
          <a:ln w="9525" cap="flat" cmpd="sng" algn="ctr">
            <a:solidFill>
              <a:srgbClr val="B7B9BC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threePt" dir="t"/>
          </a:scene3d>
          <a:sp3d>
            <a:bevelT w="44450" h="44450" prst="angle"/>
            <a:bevelB w="0" h="0"/>
          </a:sp3d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rPr>
              <a:t>Alt</a:t>
            </a:r>
          </a:p>
        </p:txBody>
      </p:sp>
      <p:sp>
        <p:nvSpPr>
          <p:cNvPr id="150" name="Textfeld 324"/>
          <p:cNvSpPr txBox="1"/>
          <p:nvPr>
            <p:custDataLst>
              <p:tags r:id="rId15"/>
            </p:custDataLst>
          </p:nvPr>
        </p:nvSpPr>
        <p:spPr>
          <a:xfrm>
            <a:off x="1481963" y="6642848"/>
            <a:ext cx="15388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2400" b="1">
                <a:latin typeface="Calibri" pitchFamily="34" charset="0"/>
              </a:rPr>
              <a:t>+</a:t>
            </a:r>
            <a:endParaRPr lang="de-DE" sz="2400" b="1" dirty="0">
              <a:latin typeface="Calibri" pitchFamily="34" charset="0"/>
            </a:endParaRPr>
          </a:p>
        </p:txBody>
      </p:sp>
      <p:sp>
        <p:nvSpPr>
          <p:cNvPr id="151" name="Textfeld 324"/>
          <p:cNvSpPr txBox="1"/>
          <p:nvPr>
            <p:custDataLst>
              <p:tags r:id="rId16"/>
            </p:custDataLst>
          </p:nvPr>
        </p:nvSpPr>
        <p:spPr>
          <a:xfrm>
            <a:off x="1481963" y="7385130"/>
            <a:ext cx="15388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2400" b="1">
                <a:latin typeface="Calibri" pitchFamily="34" charset="0"/>
              </a:rPr>
              <a:t>+</a:t>
            </a:r>
            <a:endParaRPr lang="de-DE" sz="2400" b="1" dirty="0">
              <a:latin typeface="Calibri" pitchFamily="34" charset="0"/>
            </a:endParaRPr>
          </a:p>
        </p:txBody>
      </p:sp>
      <p:sp>
        <p:nvSpPr>
          <p:cNvPr id="152" name="Rounded Rectangle 273"/>
          <p:cNvSpPr/>
          <p:nvPr>
            <p:custDataLst>
              <p:tags r:id="rId17"/>
            </p:custDataLst>
          </p:nvPr>
        </p:nvSpPr>
        <p:spPr bwMode="auto">
          <a:xfrm>
            <a:off x="825870" y="7353876"/>
            <a:ext cx="588082" cy="422200"/>
          </a:xfrm>
          <a:prstGeom prst="roundRect">
            <a:avLst>
              <a:gd name="adj" fmla="val 20122"/>
            </a:avLst>
          </a:prstGeom>
          <a:solidFill>
            <a:srgbClr val="B7B9BC"/>
          </a:solidFill>
          <a:ln w="9525" cap="flat" cmpd="sng" algn="ctr">
            <a:solidFill>
              <a:srgbClr val="B7B9BC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threePt" dir="t"/>
          </a:scene3d>
          <a:sp3d>
            <a:bevelT w="44450" h="44450" prst="angle"/>
            <a:bevelB w="0" h="0"/>
          </a:sp3d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</a:rPr>
              <a:t>Alt</a:t>
            </a:r>
          </a:p>
        </p:txBody>
      </p:sp>
      <p:sp>
        <p:nvSpPr>
          <p:cNvPr id="153" name="Rounded Rectangle 261"/>
          <p:cNvSpPr/>
          <p:nvPr>
            <p:custDataLst>
              <p:tags r:id="rId18"/>
            </p:custDataLst>
          </p:nvPr>
        </p:nvSpPr>
        <p:spPr bwMode="auto">
          <a:xfrm>
            <a:off x="1695108" y="6607496"/>
            <a:ext cx="785382" cy="422198"/>
          </a:xfrm>
          <a:prstGeom prst="roundRect">
            <a:avLst>
              <a:gd name="adj" fmla="val 20122"/>
            </a:avLst>
          </a:prstGeom>
          <a:solidFill>
            <a:srgbClr val="B7B9BC"/>
          </a:solidFill>
          <a:ln w="9525" cap="flat" cmpd="sng" algn="ctr">
            <a:solidFill>
              <a:srgbClr val="B7B9BC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threePt" dir="t"/>
          </a:scene3d>
          <a:sp3d>
            <a:bevelT w="44450" h="44450" prst="angle"/>
            <a:bevelB w="0" h="0"/>
          </a:sp3d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/>
              </a:rPr>
              <a:t> </a:t>
            </a: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sym typeface="Wingdings"/>
              </a:rPr>
              <a:t> </a:t>
            </a: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/>
              </a:rPr>
              <a:t>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4" name="Textfeld 314"/>
          <p:cNvSpPr txBox="1"/>
          <p:nvPr>
            <p:custDataLst>
              <p:tags r:id="rId19"/>
            </p:custDataLst>
          </p:nvPr>
        </p:nvSpPr>
        <p:spPr>
          <a:xfrm>
            <a:off x="2557276" y="6642848"/>
            <a:ext cx="15388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2400" b="1" dirty="0">
                <a:latin typeface="Calibri" pitchFamily="34" charset="0"/>
              </a:rPr>
              <a:t>+</a:t>
            </a:r>
          </a:p>
        </p:txBody>
      </p:sp>
      <p:sp>
        <p:nvSpPr>
          <p:cNvPr id="155" name="Rounded Rectangle 261"/>
          <p:cNvSpPr/>
          <p:nvPr>
            <p:custDataLst>
              <p:tags r:id="rId20"/>
            </p:custDataLst>
          </p:nvPr>
        </p:nvSpPr>
        <p:spPr bwMode="auto">
          <a:xfrm>
            <a:off x="1695108" y="7353878"/>
            <a:ext cx="785382" cy="422198"/>
          </a:xfrm>
          <a:prstGeom prst="roundRect">
            <a:avLst>
              <a:gd name="adj" fmla="val 20122"/>
            </a:avLst>
          </a:prstGeom>
          <a:solidFill>
            <a:srgbClr val="B7B9BC"/>
          </a:solidFill>
          <a:ln w="9525" cap="flat" cmpd="sng" algn="ctr">
            <a:solidFill>
              <a:srgbClr val="B7B9BC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perspectiveAbove"/>
            <a:lightRig rig="threePt" dir="t"/>
          </a:scene3d>
          <a:sp3d>
            <a:bevelT w="44450" h="44450" prst="angle"/>
            <a:bevelB w="0" h="0"/>
          </a:sp3d>
        </p:spPr>
        <p:txBody>
          <a:bodyPr vert="horz" wrap="square" lIns="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/>
              </a:rPr>
              <a:t> </a:t>
            </a: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sym typeface="Wingdings"/>
              </a:rPr>
              <a:t> </a:t>
            </a:r>
            <a:r>
              <a:rPr kumimoji="0" lang="de-DE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Wingdings"/>
              </a:rPr>
              <a:t>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6" name="Textfeld 314"/>
          <p:cNvSpPr txBox="1"/>
          <p:nvPr>
            <p:custDataLst>
              <p:tags r:id="rId21"/>
            </p:custDataLst>
          </p:nvPr>
        </p:nvSpPr>
        <p:spPr>
          <a:xfrm>
            <a:off x="2557276" y="7385130"/>
            <a:ext cx="153888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2400" b="1">
                <a:latin typeface="Calibri" pitchFamily="34" charset="0"/>
              </a:rPr>
              <a:t>+</a:t>
            </a:r>
            <a:endParaRPr lang="de-DE" sz="2400" b="1" dirty="0">
              <a:latin typeface="Calibri" pitchFamily="34" charset="0"/>
            </a:endParaRPr>
          </a:p>
        </p:txBody>
      </p:sp>
      <p:sp>
        <p:nvSpPr>
          <p:cNvPr id="158" name="Rectangle 46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17993" y="5745088"/>
            <a:ext cx="5491327" cy="363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46800" rIns="36000" bIns="46800" anchor="t" anchorCtr="0"/>
          <a:lstStyle/>
          <a:p>
            <a:r>
              <a:rPr lang="de-DE" sz="1200" dirty="0"/>
              <a:t>Die Reihenfolge von Ebenen tauschen</a:t>
            </a:r>
          </a:p>
        </p:txBody>
      </p:sp>
      <p:sp>
        <p:nvSpPr>
          <p:cNvPr id="33" name="Freeform 18">
            <a:extLst>
              <a:ext uri="{FF2B5EF4-FFF2-40B4-BE49-F238E27FC236}">
                <a16:creationId xmlns:a16="http://schemas.microsoft.com/office/drawing/2014/main" id="{436EAF6C-C86B-43B6-856C-E642A0ACFFE9}"/>
              </a:ext>
            </a:extLst>
          </p:cNvPr>
          <p:cNvSpPr>
            <a:spLocks/>
          </p:cNvSpPr>
          <p:nvPr/>
        </p:nvSpPr>
        <p:spPr bwMode="gray">
          <a:xfrm rot="21318079" flipH="1">
            <a:off x="199882" y="1580991"/>
            <a:ext cx="6193742" cy="528591"/>
          </a:xfrm>
          <a:custGeom>
            <a:avLst/>
            <a:gdLst>
              <a:gd name="T0" fmla="*/ 159 w 5878"/>
              <a:gd name="T1" fmla="*/ 1390 h 1390"/>
              <a:gd name="T2" fmla="*/ 238 w 5878"/>
              <a:gd name="T3" fmla="*/ 1330 h 1390"/>
              <a:gd name="T4" fmla="*/ 324 w 5878"/>
              <a:gd name="T5" fmla="*/ 1307 h 1390"/>
              <a:gd name="T6" fmla="*/ 409 w 5878"/>
              <a:gd name="T7" fmla="*/ 1280 h 1390"/>
              <a:gd name="T8" fmla="*/ 496 w 5878"/>
              <a:gd name="T9" fmla="*/ 1255 h 1390"/>
              <a:gd name="T10" fmla="*/ 582 w 5878"/>
              <a:gd name="T11" fmla="*/ 1227 h 1390"/>
              <a:gd name="T12" fmla="*/ 667 w 5878"/>
              <a:gd name="T13" fmla="*/ 1200 h 1390"/>
              <a:gd name="T14" fmla="*/ 754 w 5878"/>
              <a:gd name="T15" fmla="*/ 1173 h 1390"/>
              <a:gd name="T16" fmla="*/ 838 w 5878"/>
              <a:gd name="T17" fmla="*/ 1146 h 1390"/>
              <a:gd name="T18" fmla="*/ 925 w 5878"/>
              <a:gd name="T19" fmla="*/ 1121 h 1390"/>
              <a:gd name="T20" fmla="*/ 1010 w 5878"/>
              <a:gd name="T21" fmla="*/ 1097 h 1390"/>
              <a:gd name="T22" fmla="*/ 1096 w 5878"/>
              <a:gd name="T23" fmla="*/ 1076 h 1390"/>
              <a:gd name="T24" fmla="*/ 1299 w 5878"/>
              <a:gd name="T25" fmla="*/ 1024 h 1390"/>
              <a:gd name="T26" fmla="*/ 1738 w 5878"/>
              <a:gd name="T27" fmla="*/ 919 h 1390"/>
              <a:gd name="T28" fmla="*/ 2178 w 5878"/>
              <a:gd name="T29" fmla="*/ 824 h 1390"/>
              <a:gd name="T30" fmla="*/ 2620 w 5878"/>
              <a:gd name="T31" fmla="*/ 739 h 1390"/>
              <a:gd name="T32" fmla="*/ 3060 w 5878"/>
              <a:gd name="T33" fmla="*/ 665 h 1390"/>
              <a:gd name="T34" fmla="*/ 3502 w 5878"/>
              <a:gd name="T35" fmla="*/ 603 h 1390"/>
              <a:gd name="T36" fmla="*/ 3943 w 5878"/>
              <a:gd name="T37" fmla="*/ 553 h 1390"/>
              <a:gd name="T38" fmla="*/ 4383 w 5878"/>
              <a:gd name="T39" fmla="*/ 514 h 1390"/>
              <a:gd name="T40" fmla="*/ 4821 w 5878"/>
              <a:gd name="T41" fmla="*/ 487 h 1390"/>
              <a:gd name="T42" fmla="*/ 5258 w 5878"/>
              <a:gd name="T43" fmla="*/ 469 h 1390"/>
              <a:gd name="T44" fmla="*/ 5690 w 5878"/>
              <a:gd name="T45" fmla="*/ 465 h 1390"/>
              <a:gd name="T46" fmla="*/ 5855 w 5878"/>
              <a:gd name="T47" fmla="*/ 452 h 1390"/>
              <a:gd name="T48" fmla="*/ 5872 w 5878"/>
              <a:gd name="T49" fmla="*/ 403 h 1390"/>
              <a:gd name="T50" fmla="*/ 5878 w 5878"/>
              <a:gd name="T51" fmla="*/ 341 h 1390"/>
              <a:gd name="T52" fmla="*/ 5866 w 5878"/>
              <a:gd name="T53" fmla="*/ 194 h 1390"/>
              <a:gd name="T54" fmla="*/ 5861 w 5878"/>
              <a:gd name="T55" fmla="*/ 105 h 1390"/>
              <a:gd name="T56" fmla="*/ 5843 w 5878"/>
              <a:gd name="T57" fmla="*/ 47 h 1390"/>
              <a:gd name="T58" fmla="*/ 5820 w 5878"/>
              <a:gd name="T59" fmla="*/ 0 h 1390"/>
              <a:gd name="T60" fmla="*/ 5277 w 5878"/>
              <a:gd name="T61" fmla="*/ 27 h 1390"/>
              <a:gd name="T62" fmla="*/ 4732 w 5878"/>
              <a:gd name="T63" fmla="*/ 72 h 1390"/>
              <a:gd name="T64" fmla="*/ 4189 w 5878"/>
              <a:gd name="T65" fmla="*/ 132 h 1390"/>
              <a:gd name="T66" fmla="*/ 3648 w 5878"/>
              <a:gd name="T67" fmla="*/ 206 h 1390"/>
              <a:gd name="T68" fmla="*/ 3105 w 5878"/>
              <a:gd name="T69" fmla="*/ 295 h 1390"/>
              <a:gd name="T70" fmla="*/ 2562 w 5878"/>
              <a:gd name="T71" fmla="*/ 396 h 1390"/>
              <a:gd name="T72" fmla="*/ 2019 w 5878"/>
              <a:gd name="T73" fmla="*/ 514 h 1390"/>
              <a:gd name="T74" fmla="*/ 1476 w 5878"/>
              <a:gd name="T75" fmla="*/ 644 h 1390"/>
              <a:gd name="T76" fmla="*/ 931 w 5878"/>
              <a:gd name="T77" fmla="*/ 787 h 1390"/>
              <a:gd name="T78" fmla="*/ 386 w 5878"/>
              <a:gd name="T79" fmla="*/ 944 h 1390"/>
              <a:gd name="T80" fmla="*/ 17 w 5878"/>
              <a:gd name="T81" fmla="*/ 1059 h 1390"/>
              <a:gd name="T82" fmla="*/ 8 w 5878"/>
              <a:gd name="T83" fmla="*/ 1076 h 1390"/>
              <a:gd name="T84" fmla="*/ 2 w 5878"/>
              <a:gd name="T85" fmla="*/ 1103 h 1390"/>
              <a:gd name="T86" fmla="*/ 8 w 5878"/>
              <a:gd name="T87" fmla="*/ 1158 h 1390"/>
              <a:gd name="T88" fmla="*/ 25 w 5878"/>
              <a:gd name="T89" fmla="*/ 1222 h 1390"/>
              <a:gd name="T90" fmla="*/ 50 w 5878"/>
              <a:gd name="T91" fmla="*/ 1278 h 1390"/>
              <a:gd name="T92" fmla="*/ 81 w 5878"/>
              <a:gd name="T93" fmla="*/ 1326 h 1390"/>
              <a:gd name="T94" fmla="*/ 122 w 5878"/>
              <a:gd name="T95" fmla="*/ 1367 h 1390"/>
              <a:gd name="T96" fmla="*/ 155 w 5878"/>
              <a:gd name="T97" fmla="*/ 1390 h 1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78" h="1390">
                <a:moveTo>
                  <a:pt x="155" y="1390"/>
                </a:moveTo>
                <a:lnTo>
                  <a:pt x="157" y="1390"/>
                </a:lnTo>
                <a:lnTo>
                  <a:pt x="159" y="1390"/>
                </a:lnTo>
                <a:lnTo>
                  <a:pt x="163" y="1390"/>
                </a:lnTo>
                <a:lnTo>
                  <a:pt x="163" y="1390"/>
                </a:lnTo>
                <a:lnTo>
                  <a:pt x="238" y="1330"/>
                </a:lnTo>
                <a:lnTo>
                  <a:pt x="266" y="1322"/>
                </a:lnTo>
                <a:lnTo>
                  <a:pt x="295" y="1313"/>
                </a:lnTo>
                <a:lnTo>
                  <a:pt x="324" y="1307"/>
                </a:lnTo>
                <a:lnTo>
                  <a:pt x="353" y="1297"/>
                </a:lnTo>
                <a:lnTo>
                  <a:pt x="380" y="1289"/>
                </a:lnTo>
                <a:lnTo>
                  <a:pt x="409" y="1280"/>
                </a:lnTo>
                <a:lnTo>
                  <a:pt x="438" y="1272"/>
                </a:lnTo>
                <a:lnTo>
                  <a:pt x="467" y="1262"/>
                </a:lnTo>
                <a:lnTo>
                  <a:pt x="496" y="1255"/>
                </a:lnTo>
                <a:lnTo>
                  <a:pt x="524" y="1245"/>
                </a:lnTo>
                <a:lnTo>
                  <a:pt x="553" y="1235"/>
                </a:lnTo>
                <a:lnTo>
                  <a:pt x="582" y="1227"/>
                </a:lnTo>
                <a:lnTo>
                  <a:pt x="611" y="1218"/>
                </a:lnTo>
                <a:lnTo>
                  <a:pt x="638" y="1208"/>
                </a:lnTo>
                <a:lnTo>
                  <a:pt x="667" y="1200"/>
                </a:lnTo>
                <a:lnTo>
                  <a:pt x="696" y="1191"/>
                </a:lnTo>
                <a:lnTo>
                  <a:pt x="723" y="1181"/>
                </a:lnTo>
                <a:lnTo>
                  <a:pt x="754" y="1173"/>
                </a:lnTo>
                <a:lnTo>
                  <a:pt x="781" y="1163"/>
                </a:lnTo>
                <a:lnTo>
                  <a:pt x="811" y="1156"/>
                </a:lnTo>
                <a:lnTo>
                  <a:pt x="838" y="1146"/>
                </a:lnTo>
                <a:lnTo>
                  <a:pt x="867" y="1138"/>
                </a:lnTo>
                <a:lnTo>
                  <a:pt x="896" y="1128"/>
                </a:lnTo>
                <a:lnTo>
                  <a:pt x="925" y="1121"/>
                </a:lnTo>
                <a:lnTo>
                  <a:pt x="952" y="1113"/>
                </a:lnTo>
                <a:lnTo>
                  <a:pt x="981" y="1105"/>
                </a:lnTo>
                <a:lnTo>
                  <a:pt x="1010" y="1097"/>
                </a:lnTo>
                <a:lnTo>
                  <a:pt x="1039" y="1090"/>
                </a:lnTo>
                <a:lnTo>
                  <a:pt x="1068" y="1082"/>
                </a:lnTo>
                <a:lnTo>
                  <a:pt x="1096" y="1076"/>
                </a:lnTo>
                <a:lnTo>
                  <a:pt x="1125" y="1068"/>
                </a:lnTo>
                <a:lnTo>
                  <a:pt x="1154" y="1063"/>
                </a:lnTo>
                <a:lnTo>
                  <a:pt x="1299" y="1024"/>
                </a:lnTo>
                <a:lnTo>
                  <a:pt x="1445" y="989"/>
                </a:lnTo>
                <a:lnTo>
                  <a:pt x="1592" y="952"/>
                </a:lnTo>
                <a:lnTo>
                  <a:pt x="1738" y="919"/>
                </a:lnTo>
                <a:lnTo>
                  <a:pt x="1885" y="886"/>
                </a:lnTo>
                <a:lnTo>
                  <a:pt x="2032" y="853"/>
                </a:lnTo>
                <a:lnTo>
                  <a:pt x="2178" y="824"/>
                </a:lnTo>
                <a:lnTo>
                  <a:pt x="2325" y="793"/>
                </a:lnTo>
                <a:lnTo>
                  <a:pt x="2473" y="766"/>
                </a:lnTo>
                <a:lnTo>
                  <a:pt x="2620" y="739"/>
                </a:lnTo>
                <a:lnTo>
                  <a:pt x="2767" y="714"/>
                </a:lnTo>
                <a:lnTo>
                  <a:pt x="2915" y="688"/>
                </a:lnTo>
                <a:lnTo>
                  <a:pt x="3060" y="665"/>
                </a:lnTo>
                <a:lnTo>
                  <a:pt x="3208" y="644"/>
                </a:lnTo>
                <a:lnTo>
                  <a:pt x="3355" y="622"/>
                </a:lnTo>
                <a:lnTo>
                  <a:pt x="3502" y="603"/>
                </a:lnTo>
                <a:lnTo>
                  <a:pt x="3650" y="586"/>
                </a:lnTo>
                <a:lnTo>
                  <a:pt x="3795" y="568"/>
                </a:lnTo>
                <a:lnTo>
                  <a:pt x="3943" y="553"/>
                </a:lnTo>
                <a:lnTo>
                  <a:pt x="4090" y="539"/>
                </a:lnTo>
                <a:lnTo>
                  <a:pt x="4235" y="525"/>
                </a:lnTo>
                <a:lnTo>
                  <a:pt x="4383" y="514"/>
                </a:lnTo>
                <a:lnTo>
                  <a:pt x="4528" y="502"/>
                </a:lnTo>
                <a:lnTo>
                  <a:pt x="4676" y="494"/>
                </a:lnTo>
                <a:lnTo>
                  <a:pt x="4821" y="487"/>
                </a:lnTo>
                <a:lnTo>
                  <a:pt x="4967" y="479"/>
                </a:lnTo>
                <a:lnTo>
                  <a:pt x="5112" y="475"/>
                </a:lnTo>
                <a:lnTo>
                  <a:pt x="5258" y="469"/>
                </a:lnTo>
                <a:lnTo>
                  <a:pt x="5401" y="467"/>
                </a:lnTo>
                <a:lnTo>
                  <a:pt x="5546" y="465"/>
                </a:lnTo>
                <a:lnTo>
                  <a:pt x="5690" y="465"/>
                </a:lnTo>
                <a:lnTo>
                  <a:pt x="5835" y="467"/>
                </a:lnTo>
                <a:lnTo>
                  <a:pt x="5845" y="462"/>
                </a:lnTo>
                <a:lnTo>
                  <a:pt x="5855" y="452"/>
                </a:lnTo>
                <a:lnTo>
                  <a:pt x="5861" y="438"/>
                </a:lnTo>
                <a:lnTo>
                  <a:pt x="5868" y="423"/>
                </a:lnTo>
                <a:lnTo>
                  <a:pt x="5872" y="403"/>
                </a:lnTo>
                <a:lnTo>
                  <a:pt x="5876" y="382"/>
                </a:lnTo>
                <a:lnTo>
                  <a:pt x="5878" y="363"/>
                </a:lnTo>
                <a:lnTo>
                  <a:pt x="5878" y="341"/>
                </a:lnTo>
                <a:lnTo>
                  <a:pt x="5872" y="291"/>
                </a:lnTo>
                <a:lnTo>
                  <a:pt x="5868" y="242"/>
                </a:lnTo>
                <a:lnTo>
                  <a:pt x="5866" y="194"/>
                </a:lnTo>
                <a:lnTo>
                  <a:pt x="5865" y="147"/>
                </a:lnTo>
                <a:lnTo>
                  <a:pt x="5863" y="126"/>
                </a:lnTo>
                <a:lnTo>
                  <a:pt x="5861" y="105"/>
                </a:lnTo>
                <a:lnTo>
                  <a:pt x="5857" y="85"/>
                </a:lnTo>
                <a:lnTo>
                  <a:pt x="5849" y="66"/>
                </a:lnTo>
                <a:lnTo>
                  <a:pt x="5843" y="47"/>
                </a:lnTo>
                <a:lnTo>
                  <a:pt x="5835" y="31"/>
                </a:lnTo>
                <a:lnTo>
                  <a:pt x="5828" y="14"/>
                </a:lnTo>
                <a:lnTo>
                  <a:pt x="5820" y="0"/>
                </a:lnTo>
                <a:lnTo>
                  <a:pt x="5638" y="8"/>
                </a:lnTo>
                <a:lnTo>
                  <a:pt x="5457" y="16"/>
                </a:lnTo>
                <a:lnTo>
                  <a:pt x="5277" y="27"/>
                </a:lnTo>
                <a:lnTo>
                  <a:pt x="5095" y="41"/>
                </a:lnTo>
                <a:lnTo>
                  <a:pt x="4914" y="54"/>
                </a:lnTo>
                <a:lnTo>
                  <a:pt x="4732" y="72"/>
                </a:lnTo>
                <a:lnTo>
                  <a:pt x="4552" y="89"/>
                </a:lnTo>
                <a:lnTo>
                  <a:pt x="4371" y="111"/>
                </a:lnTo>
                <a:lnTo>
                  <a:pt x="4189" y="132"/>
                </a:lnTo>
                <a:lnTo>
                  <a:pt x="4009" y="155"/>
                </a:lnTo>
                <a:lnTo>
                  <a:pt x="3828" y="180"/>
                </a:lnTo>
                <a:lnTo>
                  <a:pt x="3648" y="206"/>
                </a:lnTo>
                <a:lnTo>
                  <a:pt x="3466" y="233"/>
                </a:lnTo>
                <a:lnTo>
                  <a:pt x="3285" y="262"/>
                </a:lnTo>
                <a:lnTo>
                  <a:pt x="3105" y="295"/>
                </a:lnTo>
                <a:lnTo>
                  <a:pt x="2923" y="326"/>
                </a:lnTo>
                <a:lnTo>
                  <a:pt x="2742" y="361"/>
                </a:lnTo>
                <a:lnTo>
                  <a:pt x="2562" y="396"/>
                </a:lnTo>
                <a:lnTo>
                  <a:pt x="2381" y="434"/>
                </a:lnTo>
                <a:lnTo>
                  <a:pt x="2199" y="473"/>
                </a:lnTo>
                <a:lnTo>
                  <a:pt x="2019" y="514"/>
                </a:lnTo>
                <a:lnTo>
                  <a:pt x="1838" y="555"/>
                </a:lnTo>
                <a:lnTo>
                  <a:pt x="1656" y="599"/>
                </a:lnTo>
                <a:lnTo>
                  <a:pt x="1476" y="644"/>
                </a:lnTo>
                <a:lnTo>
                  <a:pt x="1293" y="690"/>
                </a:lnTo>
                <a:lnTo>
                  <a:pt x="1111" y="737"/>
                </a:lnTo>
                <a:lnTo>
                  <a:pt x="931" y="787"/>
                </a:lnTo>
                <a:lnTo>
                  <a:pt x="748" y="838"/>
                </a:lnTo>
                <a:lnTo>
                  <a:pt x="568" y="890"/>
                </a:lnTo>
                <a:lnTo>
                  <a:pt x="386" y="944"/>
                </a:lnTo>
                <a:lnTo>
                  <a:pt x="204" y="999"/>
                </a:lnTo>
                <a:lnTo>
                  <a:pt x="21" y="1055"/>
                </a:lnTo>
                <a:lnTo>
                  <a:pt x="17" y="1059"/>
                </a:lnTo>
                <a:lnTo>
                  <a:pt x="13" y="1063"/>
                </a:lnTo>
                <a:lnTo>
                  <a:pt x="10" y="1068"/>
                </a:lnTo>
                <a:lnTo>
                  <a:pt x="8" y="1076"/>
                </a:lnTo>
                <a:lnTo>
                  <a:pt x="6" y="1084"/>
                </a:lnTo>
                <a:lnTo>
                  <a:pt x="4" y="1094"/>
                </a:lnTo>
                <a:lnTo>
                  <a:pt x="2" y="1103"/>
                </a:lnTo>
                <a:lnTo>
                  <a:pt x="0" y="1115"/>
                </a:lnTo>
                <a:lnTo>
                  <a:pt x="4" y="1136"/>
                </a:lnTo>
                <a:lnTo>
                  <a:pt x="8" y="1158"/>
                </a:lnTo>
                <a:lnTo>
                  <a:pt x="13" y="1179"/>
                </a:lnTo>
                <a:lnTo>
                  <a:pt x="19" y="1200"/>
                </a:lnTo>
                <a:lnTo>
                  <a:pt x="25" y="1222"/>
                </a:lnTo>
                <a:lnTo>
                  <a:pt x="33" y="1241"/>
                </a:lnTo>
                <a:lnTo>
                  <a:pt x="41" y="1258"/>
                </a:lnTo>
                <a:lnTo>
                  <a:pt x="50" y="1278"/>
                </a:lnTo>
                <a:lnTo>
                  <a:pt x="60" y="1295"/>
                </a:lnTo>
                <a:lnTo>
                  <a:pt x="70" y="1311"/>
                </a:lnTo>
                <a:lnTo>
                  <a:pt x="81" y="1326"/>
                </a:lnTo>
                <a:lnTo>
                  <a:pt x="95" y="1342"/>
                </a:lnTo>
                <a:lnTo>
                  <a:pt x="108" y="1353"/>
                </a:lnTo>
                <a:lnTo>
                  <a:pt x="122" y="1367"/>
                </a:lnTo>
                <a:lnTo>
                  <a:pt x="138" y="1379"/>
                </a:lnTo>
                <a:lnTo>
                  <a:pt x="155" y="1390"/>
                </a:lnTo>
                <a:lnTo>
                  <a:pt x="155" y="1390"/>
                </a:lnTo>
                <a:lnTo>
                  <a:pt x="155" y="139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/>
          <a:lstStyle/>
          <a:p>
            <a:endParaRPr lang="de-DE">
              <a:latin typeface="NeulandFontEuro"/>
              <a:sym typeface="NeulandFontEuro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35078D-B88E-4E40-914C-6C97C7874EE3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582580" y="6071965"/>
            <a:ext cx="2532660" cy="19154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DBB0741-FF14-4B93-B1EF-FC9205715D90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582580" y="3186426"/>
            <a:ext cx="2532660" cy="1915457"/>
          </a:xfrm>
          <a:prstGeom prst="rect">
            <a:avLst/>
          </a:prstGeom>
        </p:spPr>
      </p:pic>
      <p:cxnSp>
        <p:nvCxnSpPr>
          <p:cNvPr id="147" name="Straight Arrow Connector 146"/>
          <p:cNvCxnSpPr/>
          <p:nvPr/>
        </p:nvCxnSpPr>
        <p:spPr>
          <a:xfrm rot="5400000">
            <a:off x="3747456" y="7564476"/>
            <a:ext cx="377321" cy="0"/>
          </a:xfrm>
          <a:prstGeom prst="straightConnector1">
            <a:avLst/>
          </a:prstGeom>
          <a:ln w="5715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Arrow Connector 147"/>
          <p:cNvCxnSpPr/>
          <p:nvPr/>
        </p:nvCxnSpPr>
        <p:spPr>
          <a:xfrm rot="5400000" flipH="1">
            <a:off x="3747456" y="7073236"/>
            <a:ext cx="377321" cy="0"/>
          </a:xfrm>
          <a:prstGeom prst="straightConnector1">
            <a:avLst/>
          </a:prstGeom>
          <a:ln w="5715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Arrow Connector 125"/>
          <p:cNvCxnSpPr/>
          <p:nvPr/>
        </p:nvCxnSpPr>
        <p:spPr>
          <a:xfrm>
            <a:off x="5085184" y="4448944"/>
            <a:ext cx="374045" cy="0"/>
          </a:xfrm>
          <a:prstGeom prst="straightConnector1">
            <a:avLst/>
          </a:prstGeom>
          <a:ln w="5715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/>
          <p:cNvCxnSpPr/>
          <p:nvPr/>
        </p:nvCxnSpPr>
        <p:spPr>
          <a:xfrm flipH="1">
            <a:off x="3478428" y="4448944"/>
            <a:ext cx="374045" cy="0"/>
          </a:xfrm>
          <a:prstGeom prst="straightConnector1">
            <a:avLst/>
          </a:prstGeom>
          <a:ln w="5715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8000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71" descr="F:\Users\StBerger\Desktop\Farbpalette.png">
            <a:extLst>
              <a:ext uri="{FF2B5EF4-FFF2-40B4-BE49-F238E27FC236}">
                <a16:creationId xmlns:a16="http://schemas.microsoft.com/office/drawing/2014/main" id="{FBE35FE2-14AE-4B3E-9C3F-1BB17873A6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263"/>
          <a:stretch/>
        </p:blipFill>
        <p:spPr bwMode="auto">
          <a:xfrm>
            <a:off x="604813" y="6025354"/>
            <a:ext cx="5641752" cy="2283766"/>
          </a:xfrm>
          <a:custGeom>
            <a:avLst/>
            <a:gdLst>
              <a:gd name="connsiteX0" fmla="*/ 0 w 5641752"/>
              <a:gd name="connsiteY0" fmla="*/ 0 h 2283766"/>
              <a:gd name="connsiteX1" fmla="*/ 5641752 w 5641752"/>
              <a:gd name="connsiteY1" fmla="*/ 0 h 2283766"/>
              <a:gd name="connsiteX2" fmla="*/ 5641752 w 5641752"/>
              <a:gd name="connsiteY2" fmla="*/ 1933738 h 2283766"/>
              <a:gd name="connsiteX3" fmla="*/ 5503844 w 5641752"/>
              <a:gd name="connsiteY3" fmla="*/ 1858653 h 2283766"/>
              <a:gd name="connsiteX4" fmla="*/ 168587 w 5641752"/>
              <a:gd name="connsiteY4" fmla="*/ 2052308 h 2283766"/>
              <a:gd name="connsiteX5" fmla="*/ 0 w 5641752"/>
              <a:gd name="connsiteY5" fmla="*/ 1960519 h 2283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41752" h="2283766">
                <a:moveTo>
                  <a:pt x="0" y="0"/>
                </a:moveTo>
                <a:lnTo>
                  <a:pt x="5641752" y="0"/>
                </a:lnTo>
                <a:lnTo>
                  <a:pt x="5641752" y="1933738"/>
                </a:lnTo>
                <a:lnTo>
                  <a:pt x="5503844" y="1858653"/>
                </a:lnTo>
                <a:cubicBezTo>
                  <a:pt x="3725425" y="986165"/>
                  <a:pt x="1947006" y="2924794"/>
                  <a:pt x="168587" y="2052308"/>
                </a:cubicBezTo>
                <a:lnTo>
                  <a:pt x="0" y="1960519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251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18"/>
          <p:cNvSpPr>
            <a:spLocks noChangeArrowheads="1"/>
          </p:cNvSpPr>
          <p:nvPr/>
        </p:nvSpPr>
        <p:spPr bwMode="auto">
          <a:xfrm>
            <a:off x="738028" y="6872212"/>
            <a:ext cx="422153" cy="42215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35" name="Rectangle 18"/>
          <p:cNvSpPr>
            <a:spLocks noChangeArrowheads="1"/>
          </p:cNvSpPr>
          <p:nvPr/>
        </p:nvSpPr>
        <p:spPr bwMode="auto">
          <a:xfrm>
            <a:off x="1288696" y="6872212"/>
            <a:ext cx="422153" cy="422152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36" name="Rectangle 18"/>
          <p:cNvSpPr>
            <a:spLocks noChangeArrowheads="1"/>
          </p:cNvSpPr>
          <p:nvPr/>
        </p:nvSpPr>
        <p:spPr bwMode="auto">
          <a:xfrm>
            <a:off x="1839363" y="6872212"/>
            <a:ext cx="422153" cy="422152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37" name="Rectangle 18"/>
          <p:cNvSpPr>
            <a:spLocks noChangeArrowheads="1"/>
          </p:cNvSpPr>
          <p:nvPr/>
        </p:nvSpPr>
        <p:spPr bwMode="auto">
          <a:xfrm>
            <a:off x="2390031" y="6872212"/>
            <a:ext cx="422153" cy="422152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38" name="Rectangle 18"/>
          <p:cNvSpPr>
            <a:spLocks noChangeArrowheads="1"/>
          </p:cNvSpPr>
          <p:nvPr/>
        </p:nvSpPr>
        <p:spPr bwMode="auto">
          <a:xfrm>
            <a:off x="2940698" y="6872212"/>
            <a:ext cx="422153" cy="42215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39" name="Rectangle 18"/>
          <p:cNvSpPr>
            <a:spLocks noChangeArrowheads="1"/>
          </p:cNvSpPr>
          <p:nvPr/>
        </p:nvSpPr>
        <p:spPr bwMode="auto">
          <a:xfrm>
            <a:off x="3479967" y="6872212"/>
            <a:ext cx="422153" cy="422152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4042033" y="6872212"/>
            <a:ext cx="422153" cy="42215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41" name="Rectangle 18"/>
          <p:cNvSpPr>
            <a:spLocks noChangeArrowheads="1"/>
          </p:cNvSpPr>
          <p:nvPr/>
        </p:nvSpPr>
        <p:spPr bwMode="auto">
          <a:xfrm>
            <a:off x="4592701" y="6872212"/>
            <a:ext cx="422153" cy="42215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42" name="Rectangle 18"/>
          <p:cNvSpPr>
            <a:spLocks noChangeArrowheads="1"/>
          </p:cNvSpPr>
          <p:nvPr/>
        </p:nvSpPr>
        <p:spPr bwMode="auto">
          <a:xfrm>
            <a:off x="5143368" y="6872212"/>
            <a:ext cx="422153" cy="422152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43" name="Rectangle 42"/>
          <p:cNvSpPr>
            <a:spLocks noChangeArrowheads="1"/>
          </p:cNvSpPr>
          <p:nvPr/>
        </p:nvSpPr>
        <p:spPr bwMode="auto">
          <a:xfrm>
            <a:off x="5694033" y="6872212"/>
            <a:ext cx="422153" cy="422152"/>
          </a:xfrm>
          <a:prstGeom prst="rect">
            <a:avLst/>
          </a:prstGeom>
          <a:solidFill>
            <a:schemeClr val="accent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e-DE" sz="1200" dirty="0">
              <a:latin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Flipchart-Vorlage verwendet die Farben von Flipchart-Stift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63FFF309-7B43-4697-A594-9877CC163A2D}" type="slidenum">
              <a:rPr lang="de-DE" sz="800" smtClean="0"/>
              <a:pPr algn="r"/>
              <a:t>5</a:t>
            </a:fld>
            <a:endParaRPr lang="de-DE" sz="800" dirty="0"/>
          </a:p>
        </p:txBody>
      </p:sp>
      <p:pic>
        <p:nvPicPr>
          <p:cNvPr id="5122" name="Picture 2" descr="F:\Users\StBerger\Desktop\moderationsstifte.png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9119" y="3080792"/>
            <a:ext cx="2486025" cy="1419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Freeform 14"/>
          <p:cNvSpPr>
            <a:spLocks/>
          </p:cNvSpPr>
          <p:nvPr/>
        </p:nvSpPr>
        <p:spPr bwMode="gray">
          <a:xfrm rot="17479882">
            <a:off x="-166461" y="4820394"/>
            <a:ext cx="2285250" cy="241431"/>
          </a:xfrm>
          <a:custGeom>
            <a:avLst/>
            <a:gdLst>
              <a:gd name="T0" fmla="*/ 23317 w 5878"/>
              <a:gd name="T1" fmla="*/ 185738 h 1390"/>
              <a:gd name="T2" fmla="*/ 34903 w 5878"/>
              <a:gd name="T3" fmla="*/ 177721 h 1390"/>
              <a:gd name="T4" fmla="*/ 47515 w 5878"/>
              <a:gd name="T5" fmla="*/ 174647 h 1390"/>
              <a:gd name="T6" fmla="*/ 59980 w 5878"/>
              <a:gd name="T7" fmla="*/ 171039 h 1390"/>
              <a:gd name="T8" fmla="*/ 72739 w 5878"/>
              <a:gd name="T9" fmla="*/ 167699 h 1390"/>
              <a:gd name="T10" fmla="*/ 85351 w 5878"/>
              <a:gd name="T11" fmla="*/ 163957 h 1390"/>
              <a:gd name="T12" fmla="*/ 97816 w 5878"/>
              <a:gd name="T13" fmla="*/ 160349 h 1390"/>
              <a:gd name="T14" fmla="*/ 110575 w 5878"/>
              <a:gd name="T15" fmla="*/ 156741 h 1390"/>
              <a:gd name="T16" fmla="*/ 122893 w 5878"/>
              <a:gd name="T17" fmla="*/ 153134 h 1390"/>
              <a:gd name="T18" fmla="*/ 135652 w 5878"/>
              <a:gd name="T19" fmla="*/ 149793 h 1390"/>
              <a:gd name="T20" fmla="*/ 148117 w 5878"/>
              <a:gd name="T21" fmla="*/ 146586 h 1390"/>
              <a:gd name="T22" fmla="*/ 160729 w 5878"/>
              <a:gd name="T23" fmla="*/ 143780 h 1390"/>
              <a:gd name="T24" fmla="*/ 190499 w 5878"/>
              <a:gd name="T25" fmla="*/ 136831 h 1390"/>
              <a:gd name="T26" fmla="*/ 254879 w 5878"/>
              <a:gd name="T27" fmla="*/ 122801 h 1390"/>
              <a:gd name="T28" fmla="*/ 319405 w 5878"/>
              <a:gd name="T29" fmla="*/ 110107 h 1390"/>
              <a:gd name="T30" fmla="*/ 384224 w 5878"/>
              <a:gd name="T31" fmla="*/ 98748 h 1390"/>
              <a:gd name="T32" fmla="*/ 448751 w 5878"/>
              <a:gd name="T33" fmla="*/ 88860 h 1390"/>
              <a:gd name="T34" fmla="*/ 513570 w 5878"/>
              <a:gd name="T35" fmla="*/ 80576 h 1390"/>
              <a:gd name="T36" fmla="*/ 578243 w 5878"/>
              <a:gd name="T37" fmla="*/ 73894 h 1390"/>
              <a:gd name="T38" fmla="*/ 642769 w 5878"/>
              <a:gd name="T39" fmla="*/ 68683 h 1390"/>
              <a:gd name="T40" fmla="*/ 707002 w 5878"/>
              <a:gd name="T41" fmla="*/ 65075 h 1390"/>
              <a:gd name="T42" fmla="*/ 771089 w 5878"/>
              <a:gd name="T43" fmla="*/ 62670 h 1390"/>
              <a:gd name="T44" fmla="*/ 834442 w 5878"/>
              <a:gd name="T45" fmla="*/ 62135 h 1390"/>
              <a:gd name="T46" fmla="*/ 858639 w 5878"/>
              <a:gd name="T47" fmla="*/ 60398 h 1390"/>
              <a:gd name="T48" fmla="*/ 861132 w 5878"/>
              <a:gd name="T49" fmla="*/ 53851 h 1390"/>
              <a:gd name="T50" fmla="*/ 862012 w 5878"/>
              <a:gd name="T51" fmla="*/ 45566 h 1390"/>
              <a:gd name="T52" fmla="*/ 860252 w 5878"/>
              <a:gd name="T53" fmla="*/ 25923 h 1390"/>
              <a:gd name="T54" fmla="*/ 859519 w 5878"/>
              <a:gd name="T55" fmla="*/ 14031 h 1390"/>
              <a:gd name="T56" fmla="*/ 856879 w 5878"/>
              <a:gd name="T57" fmla="*/ 6280 h 1390"/>
              <a:gd name="T58" fmla="*/ 853506 w 5878"/>
              <a:gd name="T59" fmla="*/ 0 h 1390"/>
              <a:gd name="T60" fmla="*/ 773875 w 5878"/>
              <a:gd name="T61" fmla="*/ 3608 h 1390"/>
              <a:gd name="T62" fmla="*/ 693950 w 5878"/>
              <a:gd name="T63" fmla="*/ 9621 h 1390"/>
              <a:gd name="T64" fmla="*/ 614319 w 5878"/>
              <a:gd name="T65" fmla="*/ 17638 h 1390"/>
              <a:gd name="T66" fmla="*/ 534981 w 5878"/>
              <a:gd name="T67" fmla="*/ 27527 h 1390"/>
              <a:gd name="T68" fmla="*/ 455350 w 5878"/>
              <a:gd name="T69" fmla="*/ 39419 h 1390"/>
              <a:gd name="T70" fmla="*/ 375719 w 5878"/>
              <a:gd name="T71" fmla="*/ 52915 h 1390"/>
              <a:gd name="T72" fmla="*/ 296087 w 5878"/>
              <a:gd name="T73" fmla="*/ 68683 h 1390"/>
              <a:gd name="T74" fmla="*/ 216456 w 5878"/>
              <a:gd name="T75" fmla="*/ 86054 h 1390"/>
              <a:gd name="T76" fmla="*/ 136532 w 5878"/>
              <a:gd name="T77" fmla="*/ 105162 h 1390"/>
              <a:gd name="T78" fmla="*/ 56607 w 5878"/>
              <a:gd name="T79" fmla="*/ 126141 h 1390"/>
              <a:gd name="T80" fmla="*/ 2493 w 5878"/>
              <a:gd name="T81" fmla="*/ 141508 h 1390"/>
              <a:gd name="T82" fmla="*/ 1173 w 5878"/>
              <a:gd name="T83" fmla="*/ 143780 h 1390"/>
              <a:gd name="T84" fmla="*/ 293 w 5878"/>
              <a:gd name="T85" fmla="*/ 147388 h 1390"/>
              <a:gd name="T86" fmla="*/ 1173 w 5878"/>
              <a:gd name="T87" fmla="*/ 154737 h 1390"/>
              <a:gd name="T88" fmla="*/ 3666 w 5878"/>
              <a:gd name="T89" fmla="*/ 163289 h 1390"/>
              <a:gd name="T90" fmla="*/ 7333 w 5878"/>
              <a:gd name="T91" fmla="*/ 170772 h 1390"/>
              <a:gd name="T92" fmla="*/ 11879 w 5878"/>
              <a:gd name="T93" fmla="*/ 177186 h 1390"/>
              <a:gd name="T94" fmla="*/ 17891 w 5878"/>
              <a:gd name="T95" fmla="*/ 182665 h 1390"/>
              <a:gd name="T96" fmla="*/ 22731 w 5878"/>
              <a:gd name="T97" fmla="*/ 185738 h 1390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78" h="1390">
                <a:moveTo>
                  <a:pt x="155" y="1390"/>
                </a:moveTo>
                <a:lnTo>
                  <a:pt x="157" y="1390"/>
                </a:lnTo>
                <a:lnTo>
                  <a:pt x="159" y="1390"/>
                </a:lnTo>
                <a:lnTo>
                  <a:pt x="163" y="1390"/>
                </a:lnTo>
                <a:lnTo>
                  <a:pt x="238" y="1330"/>
                </a:lnTo>
                <a:lnTo>
                  <a:pt x="266" y="1322"/>
                </a:lnTo>
                <a:lnTo>
                  <a:pt x="295" y="1313"/>
                </a:lnTo>
                <a:lnTo>
                  <a:pt x="324" y="1307"/>
                </a:lnTo>
                <a:lnTo>
                  <a:pt x="353" y="1297"/>
                </a:lnTo>
                <a:lnTo>
                  <a:pt x="380" y="1289"/>
                </a:lnTo>
                <a:lnTo>
                  <a:pt x="409" y="1280"/>
                </a:lnTo>
                <a:lnTo>
                  <a:pt x="438" y="1272"/>
                </a:lnTo>
                <a:lnTo>
                  <a:pt x="467" y="1262"/>
                </a:lnTo>
                <a:lnTo>
                  <a:pt x="496" y="1255"/>
                </a:lnTo>
                <a:lnTo>
                  <a:pt x="524" y="1245"/>
                </a:lnTo>
                <a:lnTo>
                  <a:pt x="553" y="1235"/>
                </a:lnTo>
                <a:lnTo>
                  <a:pt x="582" y="1227"/>
                </a:lnTo>
                <a:lnTo>
                  <a:pt x="611" y="1218"/>
                </a:lnTo>
                <a:lnTo>
                  <a:pt x="638" y="1208"/>
                </a:lnTo>
                <a:lnTo>
                  <a:pt x="667" y="1200"/>
                </a:lnTo>
                <a:lnTo>
                  <a:pt x="696" y="1191"/>
                </a:lnTo>
                <a:lnTo>
                  <a:pt x="723" y="1181"/>
                </a:lnTo>
                <a:lnTo>
                  <a:pt x="754" y="1173"/>
                </a:lnTo>
                <a:lnTo>
                  <a:pt x="781" y="1163"/>
                </a:lnTo>
                <a:lnTo>
                  <a:pt x="811" y="1156"/>
                </a:lnTo>
                <a:lnTo>
                  <a:pt x="838" y="1146"/>
                </a:lnTo>
                <a:lnTo>
                  <a:pt x="867" y="1138"/>
                </a:lnTo>
                <a:lnTo>
                  <a:pt x="896" y="1128"/>
                </a:lnTo>
                <a:lnTo>
                  <a:pt x="925" y="1121"/>
                </a:lnTo>
                <a:lnTo>
                  <a:pt x="952" y="1113"/>
                </a:lnTo>
                <a:lnTo>
                  <a:pt x="981" y="1105"/>
                </a:lnTo>
                <a:lnTo>
                  <a:pt x="1010" y="1097"/>
                </a:lnTo>
                <a:lnTo>
                  <a:pt x="1039" y="1090"/>
                </a:lnTo>
                <a:lnTo>
                  <a:pt x="1068" y="1082"/>
                </a:lnTo>
                <a:lnTo>
                  <a:pt x="1096" y="1076"/>
                </a:lnTo>
                <a:lnTo>
                  <a:pt x="1125" y="1068"/>
                </a:lnTo>
                <a:lnTo>
                  <a:pt x="1154" y="1063"/>
                </a:lnTo>
                <a:lnTo>
                  <a:pt x="1299" y="1024"/>
                </a:lnTo>
                <a:lnTo>
                  <a:pt x="1445" y="989"/>
                </a:lnTo>
                <a:lnTo>
                  <a:pt x="1592" y="952"/>
                </a:lnTo>
                <a:lnTo>
                  <a:pt x="1738" y="919"/>
                </a:lnTo>
                <a:lnTo>
                  <a:pt x="1885" y="886"/>
                </a:lnTo>
                <a:lnTo>
                  <a:pt x="2032" y="853"/>
                </a:lnTo>
                <a:lnTo>
                  <a:pt x="2178" y="824"/>
                </a:lnTo>
                <a:lnTo>
                  <a:pt x="2325" y="793"/>
                </a:lnTo>
                <a:lnTo>
                  <a:pt x="2473" y="766"/>
                </a:lnTo>
                <a:lnTo>
                  <a:pt x="2620" y="739"/>
                </a:lnTo>
                <a:lnTo>
                  <a:pt x="2767" y="714"/>
                </a:lnTo>
                <a:lnTo>
                  <a:pt x="2915" y="688"/>
                </a:lnTo>
                <a:lnTo>
                  <a:pt x="3060" y="665"/>
                </a:lnTo>
                <a:lnTo>
                  <a:pt x="3208" y="644"/>
                </a:lnTo>
                <a:lnTo>
                  <a:pt x="3355" y="622"/>
                </a:lnTo>
                <a:lnTo>
                  <a:pt x="3502" y="603"/>
                </a:lnTo>
                <a:lnTo>
                  <a:pt x="3650" y="586"/>
                </a:lnTo>
                <a:lnTo>
                  <a:pt x="3795" y="568"/>
                </a:lnTo>
                <a:lnTo>
                  <a:pt x="3943" y="553"/>
                </a:lnTo>
                <a:lnTo>
                  <a:pt x="4090" y="539"/>
                </a:lnTo>
                <a:lnTo>
                  <a:pt x="4235" y="525"/>
                </a:lnTo>
                <a:lnTo>
                  <a:pt x="4383" y="514"/>
                </a:lnTo>
                <a:lnTo>
                  <a:pt x="4528" y="502"/>
                </a:lnTo>
                <a:lnTo>
                  <a:pt x="4676" y="494"/>
                </a:lnTo>
                <a:lnTo>
                  <a:pt x="4821" y="487"/>
                </a:lnTo>
                <a:lnTo>
                  <a:pt x="4967" y="479"/>
                </a:lnTo>
                <a:lnTo>
                  <a:pt x="5112" y="475"/>
                </a:lnTo>
                <a:lnTo>
                  <a:pt x="5258" y="469"/>
                </a:lnTo>
                <a:lnTo>
                  <a:pt x="5401" y="467"/>
                </a:lnTo>
                <a:lnTo>
                  <a:pt x="5546" y="465"/>
                </a:lnTo>
                <a:lnTo>
                  <a:pt x="5690" y="465"/>
                </a:lnTo>
                <a:lnTo>
                  <a:pt x="5835" y="467"/>
                </a:lnTo>
                <a:lnTo>
                  <a:pt x="5845" y="462"/>
                </a:lnTo>
                <a:lnTo>
                  <a:pt x="5855" y="452"/>
                </a:lnTo>
                <a:lnTo>
                  <a:pt x="5861" y="438"/>
                </a:lnTo>
                <a:lnTo>
                  <a:pt x="5868" y="423"/>
                </a:lnTo>
                <a:lnTo>
                  <a:pt x="5872" y="403"/>
                </a:lnTo>
                <a:lnTo>
                  <a:pt x="5876" y="382"/>
                </a:lnTo>
                <a:lnTo>
                  <a:pt x="5878" y="363"/>
                </a:lnTo>
                <a:lnTo>
                  <a:pt x="5878" y="341"/>
                </a:lnTo>
                <a:lnTo>
                  <a:pt x="5872" y="291"/>
                </a:lnTo>
                <a:lnTo>
                  <a:pt x="5868" y="242"/>
                </a:lnTo>
                <a:lnTo>
                  <a:pt x="5866" y="194"/>
                </a:lnTo>
                <a:lnTo>
                  <a:pt x="5865" y="147"/>
                </a:lnTo>
                <a:lnTo>
                  <a:pt x="5863" y="126"/>
                </a:lnTo>
                <a:lnTo>
                  <a:pt x="5861" y="105"/>
                </a:lnTo>
                <a:lnTo>
                  <a:pt x="5857" y="85"/>
                </a:lnTo>
                <a:lnTo>
                  <a:pt x="5849" y="66"/>
                </a:lnTo>
                <a:lnTo>
                  <a:pt x="5843" y="47"/>
                </a:lnTo>
                <a:lnTo>
                  <a:pt x="5835" y="31"/>
                </a:lnTo>
                <a:lnTo>
                  <a:pt x="5828" y="14"/>
                </a:lnTo>
                <a:lnTo>
                  <a:pt x="5820" y="0"/>
                </a:lnTo>
                <a:lnTo>
                  <a:pt x="5638" y="8"/>
                </a:lnTo>
                <a:lnTo>
                  <a:pt x="5457" y="16"/>
                </a:lnTo>
                <a:lnTo>
                  <a:pt x="5277" y="27"/>
                </a:lnTo>
                <a:lnTo>
                  <a:pt x="5095" y="41"/>
                </a:lnTo>
                <a:lnTo>
                  <a:pt x="4914" y="54"/>
                </a:lnTo>
                <a:lnTo>
                  <a:pt x="4732" y="72"/>
                </a:lnTo>
                <a:lnTo>
                  <a:pt x="4552" y="89"/>
                </a:lnTo>
                <a:lnTo>
                  <a:pt x="4371" y="111"/>
                </a:lnTo>
                <a:lnTo>
                  <a:pt x="4189" y="132"/>
                </a:lnTo>
                <a:lnTo>
                  <a:pt x="4009" y="155"/>
                </a:lnTo>
                <a:lnTo>
                  <a:pt x="3828" y="180"/>
                </a:lnTo>
                <a:lnTo>
                  <a:pt x="3648" y="206"/>
                </a:lnTo>
                <a:lnTo>
                  <a:pt x="3466" y="233"/>
                </a:lnTo>
                <a:lnTo>
                  <a:pt x="3285" y="262"/>
                </a:lnTo>
                <a:lnTo>
                  <a:pt x="3105" y="295"/>
                </a:lnTo>
                <a:lnTo>
                  <a:pt x="2923" y="326"/>
                </a:lnTo>
                <a:lnTo>
                  <a:pt x="2742" y="361"/>
                </a:lnTo>
                <a:lnTo>
                  <a:pt x="2562" y="396"/>
                </a:lnTo>
                <a:lnTo>
                  <a:pt x="2381" y="434"/>
                </a:lnTo>
                <a:lnTo>
                  <a:pt x="2199" y="473"/>
                </a:lnTo>
                <a:lnTo>
                  <a:pt x="2019" y="514"/>
                </a:lnTo>
                <a:lnTo>
                  <a:pt x="1838" y="555"/>
                </a:lnTo>
                <a:lnTo>
                  <a:pt x="1656" y="599"/>
                </a:lnTo>
                <a:lnTo>
                  <a:pt x="1476" y="644"/>
                </a:lnTo>
                <a:lnTo>
                  <a:pt x="1293" y="690"/>
                </a:lnTo>
                <a:lnTo>
                  <a:pt x="1111" y="737"/>
                </a:lnTo>
                <a:lnTo>
                  <a:pt x="931" y="787"/>
                </a:lnTo>
                <a:lnTo>
                  <a:pt x="748" y="838"/>
                </a:lnTo>
                <a:lnTo>
                  <a:pt x="568" y="890"/>
                </a:lnTo>
                <a:lnTo>
                  <a:pt x="386" y="944"/>
                </a:lnTo>
                <a:lnTo>
                  <a:pt x="204" y="999"/>
                </a:lnTo>
                <a:lnTo>
                  <a:pt x="21" y="1055"/>
                </a:lnTo>
                <a:lnTo>
                  <a:pt x="17" y="1059"/>
                </a:lnTo>
                <a:lnTo>
                  <a:pt x="13" y="1063"/>
                </a:lnTo>
                <a:lnTo>
                  <a:pt x="10" y="1068"/>
                </a:lnTo>
                <a:lnTo>
                  <a:pt x="8" y="1076"/>
                </a:lnTo>
                <a:lnTo>
                  <a:pt x="6" y="1084"/>
                </a:lnTo>
                <a:lnTo>
                  <a:pt x="4" y="1094"/>
                </a:lnTo>
                <a:lnTo>
                  <a:pt x="2" y="1103"/>
                </a:lnTo>
                <a:lnTo>
                  <a:pt x="0" y="1115"/>
                </a:lnTo>
                <a:lnTo>
                  <a:pt x="4" y="1136"/>
                </a:lnTo>
                <a:lnTo>
                  <a:pt x="8" y="1158"/>
                </a:lnTo>
                <a:lnTo>
                  <a:pt x="13" y="1179"/>
                </a:lnTo>
                <a:lnTo>
                  <a:pt x="19" y="1200"/>
                </a:lnTo>
                <a:lnTo>
                  <a:pt x="25" y="1222"/>
                </a:lnTo>
                <a:lnTo>
                  <a:pt x="33" y="1241"/>
                </a:lnTo>
                <a:lnTo>
                  <a:pt x="41" y="1258"/>
                </a:lnTo>
                <a:lnTo>
                  <a:pt x="50" y="1278"/>
                </a:lnTo>
                <a:lnTo>
                  <a:pt x="60" y="1295"/>
                </a:lnTo>
                <a:lnTo>
                  <a:pt x="70" y="1311"/>
                </a:lnTo>
                <a:lnTo>
                  <a:pt x="81" y="1326"/>
                </a:lnTo>
                <a:lnTo>
                  <a:pt x="95" y="1342"/>
                </a:lnTo>
                <a:lnTo>
                  <a:pt x="108" y="1353"/>
                </a:lnTo>
                <a:lnTo>
                  <a:pt x="122" y="1367"/>
                </a:lnTo>
                <a:lnTo>
                  <a:pt x="138" y="1379"/>
                </a:lnTo>
                <a:lnTo>
                  <a:pt x="155" y="139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  <a:extLst/>
        </p:spPr>
        <p:txBody>
          <a:bodyPr/>
          <a:lstStyle/>
          <a:p>
            <a:endParaRPr lang="de-DE" sz="1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1" name="Freeform 14"/>
          <p:cNvSpPr>
            <a:spLocks/>
          </p:cNvSpPr>
          <p:nvPr/>
        </p:nvSpPr>
        <p:spPr bwMode="gray">
          <a:xfrm rot="4263821">
            <a:off x="4638767" y="4895763"/>
            <a:ext cx="2199198" cy="241431"/>
          </a:xfrm>
          <a:custGeom>
            <a:avLst/>
            <a:gdLst>
              <a:gd name="T0" fmla="*/ 23317 w 5878"/>
              <a:gd name="T1" fmla="*/ 185738 h 1390"/>
              <a:gd name="T2" fmla="*/ 34903 w 5878"/>
              <a:gd name="T3" fmla="*/ 177721 h 1390"/>
              <a:gd name="T4" fmla="*/ 47515 w 5878"/>
              <a:gd name="T5" fmla="*/ 174647 h 1390"/>
              <a:gd name="T6" fmla="*/ 59980 w 5878"/>
              <a:gd name="T7" fmla="*/ 171039 h 1390"/>
              <a:gd name="T8" fmla="*/ 72739 w 5878"/>
              <a:gd name="T9" fmla="*/ 167699 h 1390"/>
              <a:gd name="T10" fmla="*/ 85351 w 5878"/>
              <a:gd name="T11" fmla="*/ 163957 h 1390"/>
              <a:gd name="T12" fmla="*/ 97816 w 5878"/>
              <a:gd name="T13" fmla="*/ 160349 h 1390"/>
              <a:gd name="T14" fmla="*/ 110575 w 5878"/>
              <a:gd name="T15" fmla="*/ 156741 h 1390"/>
              <a:gd name="T16" fmla="*/ 122893 w 5878"/>
              <a:gd name="T17" fmla="*/ 153134 h 1390"/>
              <a:gd name="T18" fmla="*/ 135652 w 5878"/>
              <a:gd name="T19" fmla="*/ 149793 h 1390"/>
              <a:gd name="T20" fmla="*/ 148117 w 5878"/>
              <a:gd name="T21" fmla="*/ 146586 h 1390"/>
              <a:gd name="T22" fmla="*/ 160729 w 5878"/>
              <a:gd name="T23" fmla="*/ 143780 h 1390"/>
              <a:gd name="T24" fmla="*/ 190499 w 5878"/>
              <a:gd name="T25" fmla="*/ 136831 h 1390"/>
              <a:gd name="T26" fmla="*/ 254879 w 5878"/>
              <a:gd name="T27" fmla="*/ 122801 h 1390"/>
              <a:gd name="T28" fmla="*/ 319405 w 5878"/>
              <a:gd name="T29" fmla="*/ 110107 h 1390"/>
              <a:gd name="T30" fmla="*/ 384224 w 5878"/>
              <a:gd name="T31" fmla="*/ 98748 h 1390"/>
              <a:gd name="T32" fmla="*/ 448751 w 5878"/>
              <a:gd name="T33" fmla="*/ 88860 h 1390"/>
              <a:gd name="T34" fmla="*/ 513570 w 5878"/>
              <a:gd name="T35" fmla="*/ 80576 h 1390"/>
              <a:gd name="T36" fmla="*/ 578243 w 5878"/>
              <a:gd name="T37" fmla="*/ 73894 h 1390"/>
              <a:gd name="T38" fmla="*/ 642769 w 5878"/>
              <a:gd name="T39" fmla="*/ 68683 h 1390"/>
              <a:gd name="T40" fmla="*/ 707002 w 5878"/>
              <a:gd name="T41" fmla="*/ 65075 h 1390"/>
              <a:gd name="T42" fmla="*/ 771089 w 5878"/>
              <a:gd name="T43" fmla="*/ 62670 h 1390"/>
              <a:gd name="T44" fmla="*/ 834442 w 5878"/>
              <a:gd name="T45" fmla="*/ 62135 h 1390"/>
              <a:gd name="T46" fmla="*/ 858639 w 5878"/>
              <a:gd name="T47" fmla="*/ 60398 h 1390"/>
              <a:gd name="T48" fmla="*/ 861132 w 5878"/>
              <a:gd name="T49" fmla="*/ 53851 h 1390"/>
              <a:gd name="T50" fmla="*/ 862012 w 5878"/>
              <a:gd name="T51" fmla="*/ 45566 h 1390"/>
              <a:gd name="T52" fmla="*/ 860252 w 5878"/>
              <a:gd name="T53" fmla="*/ 25923 h 1390"/>
              <a:gd name="T54" fmla="*/ 859519 w 5878"/>
              <a:gd name="T55" fmla="*/ 14031 h 1390"/>
              <a:gd name="T56" fmla="*/ 856879 w 5878"/>
              <a:gd name="T57" fmla="*/ 6280 h 1390"/>
              <a:gd name="T58" fmla="*/ 853506 w 5878"/>
              <a:gd name="T59" fmla="*/ 0 h 1390"/>
              <a:gd name="T60" fmla="*/ 773875 w 5878"/>
              <a:gd name="T61" fmla="*/ 3608 h 1390"/>
              <a:gd name="T62" fmla="*/ 693950 w 5878"/>
              <a:gd name="T63" fmla="*/ 9621 h 1390"/>
              <a:gd name="T64" fmla="*/ 614319 w 5878"/>
              <a:gd name="T65" fmla="*/ 17638 h 1390"/>
              <a:gd name="T66" fmla="*/ 534981 w 5878"/>
              <a:gd name="T67" fmla="*/ 27527 h 1390"/>
              <a:gd name="T68" fmla="*/ 455350 w 5878"/>
              <a:gd name="T69" fmla="*/ 39419 h 1390"/>
              <a:gd name="T70" fmla="*/ 375719 w 5878"/>
              <a:gd name="T71" fmla="*/ 52915 h 1390"/>
              <a:gd name="T72" fmla="*/ 296087 w 5878"/>
              <a:gd name="T73" fmla="*/ 68683 h 1390"/>
              <a:gd name="T74" fmla="*/ 216456 w 5878"/>
              <a:gd name="T75" fmla="*/ 86054 h 1390"/>
              <a:gd name="T76" fmla="*/ 136532 w 5878"/>
              <a:gd name="T77" fmla="*/ 105162 h 1390"/>
              <a:gd name="T78" fmla="*/ 56607 w 5878"/>
              <a:gd name="T79" fmla="*/ 126141 h 1390"/>
              <a:gd name="T80" fmla="*/ 2493 w 5878"/>
              <a:gd name="T81" fmla="*/ 141508 h 1390"/>
              <a:gd name="T82" fmla="*/ 1173 w 5878"/>
              <a:gd name="T83" fmla="*/ 143780 h 1390"/>
              <a:gd name="T84" fmla="*/ 293 w 5878"/>
              <a:gd name="T85" fmla="*/ 147388 h 1390"/>
              <a:gd name="T86" fmla="*/ 1173 w 5878"/>
              <a:gd name="T87" fmla="*/ 154737 h 1390"/>
              <a:gd name="T88" fmla="*/ 3666 w 5878"/>
              <a:gd name="T89" fmla="*/ 163289 h 1390"/>
              <a:gd name="T90" fmla="*/ 7333 w 5878"/>
              <a:gd name="T91" fmla="*/ 170772 h 1390"/>
              <a:gd name="T92" fmla="*/ 11879 w 5878"/>
              <a:gd name="T93" fmla="*/ 177186 h 1390"/>
              <a:gd name="T94" fmla="*/ 17891 w 5878"/>
              <a:gd name="T95" fmla="*/ 182665 h 1390"/>
              <a:gd name="T96" fmla="*/ 22731 w 5878"/>
              <a:gd name="T97" fmla="*/ 185738 h 1390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78" h="1390">
                <a:moveTo>
                  <a:pt x="155" y="1390"/>
                </a:moveTo>
                <a:lnTo>
                  <a:pt x="157" y="1390"/>
                </a:lnTo>
                <a:lnTo>
                  <a:pt x="159" y="1390"/>
                </a:lnTo>
                <a:lnTo>
                  <a:pt x="163" y="1390"/>
                </a:lnTo>
                <a:lnTo>
                  <a:pt x="238" y="1330"/>
                </a:lnTo>
                <a:lnTo>
                  <a:pt x="266" y="1322"/>
                </a:lnTo>
                <a:lnTo>
                  <a:pt x="295" y="1313"/>
                </a:lnTo>
                <a:lnTo>
                  <a:pt x="324" y="1307"/>
                </a:lnTo>
                <a:lnTo>
                  <a:pt x="353" y="1297"/>
                </a:lnTo>
                <a:lnTo>
                  <a:pt x="380" y="1289"/>
                </a:lnTo>
                <a:lnTo>
                  <a:pt x="409" y="1280"/>
                </a:lnTo>
                <a:lnTo>
                  <a:pt x="438" y="1272"/>
                </a:lnTo>
                <a:lnTo>
                  <a:pt x="467" y="1262"/>
                </a:lnTo>
                <a:lnTo>
                  <a:pt x="496" y="1255"/>
                </a:lnTo>
                <a:lnTo>
                  <a:pt x="524" y="1245"/>
                </a:lnTo>
                <a:lnTo>
                  <a:pt x="553" y="1235"/>
                </a:lnTo>
                <a:lnTo>
                  <a:pt x="582" y="1227"/>
                </a:lnTo>
                <a:lnTo>
                  <a:pt x="611" y="1218"/>
                </a:lnTo>
                <a:lnTo>
                  <a:pt x="638" y="1208"/>
                </a:lnTo>
                <a:lnTo>
                  <a:pt x="667" y="1200"/>
                </a:lnTo>
                <a:lnTo>
                  <a:pt x="696" y="1191"/>
                </a:lnTo>
                <a:lnTo>
                  <a:pt x="723" y="1181"/>
                </a:lnTo>
                <a:lnTo>
                  <a:pt x="754" y="1173"/>
                </a:lnTo>
                <a:lnTo>
                  <a:pt x="781" y="1163"/>
                </a:lnTo>
                <a:lnTo>
                  <a:pt x="811" y="1156"/>
                </a:lnTo>
                <a:lnTo>
                  <a:pt x="838" y="1146"/>
                </a:lnTo>
                <a:lnTo>
                  <a:pt x="867" y="1138"/>
                </a:lnTo>
                <a:lnTo>
                  <a:pt x="896" y="1128"/>
                </a:lnTo>
                <a:lnTo>
                  <a:pt x="925" y="1121"/>
                </a:lnTo>
                <a:lnTo>
                  <a:pt x="952" y="1113"/>
                </a:lnTo>
                <a:lnTo>
                  <a:pt x="981" y="1105"/>
                </a:lnTo>
                <a:lnTo>
                  <a:pt x="1010" y="1097"/>
                </a:lnTo>
                <a:lnTo>
                  <a:pt x="1039" y="1090"/>
                </a:lnTo>
                <a:lnTo>
                  <a:pt x="1068" y="1082"/>
                </a:lnTo>
                <a:lnTo>
                  <a:pt x="1096" y="1076"/>
                </a:lnTo>
                <a:lnTo>
                  <a:pt x="1125" y="1068"/>
                </a:lnTo>
                <a:lnTo>
                  <a:pt x="1154" y="1063"/>
                </a:lnTo>
                <a:lnTo>
                  <a:pt x="1299" y="1024"/>
                </a:lnTo>
                <a:lnTo>
                  <a:pt x="1445" y="989"/>
                </a:lnTo>
                <a:lnTo>
                  <a:pt x="1592" y="952"/>
                </a:lnTo>
                <a:lnTo>
                  <a:pt x="1738" y="919"/>
                </a:lnTo>
                <a:lnTo>
                  <a:pt x="1885" y="886"/>
                </a:lnTo>
                <a:lnTo>
                  <a:pt x="2032" y="853"/>
                </a:lnTo>
                <a:lnTo>
                  <a:pt x="2178" y="824"/>
                </a:lnTo>
                <a:lnTo>
                  <a:pt x="2325" y="793"/>
                </a:lnTo>
                <a:lnTo>
                  <a:pt x="2473" y="766"/>
                </a:lnTo>
                <a:lnTo>
                  <a:pt x="2620" y="739"/>
                </a:lnTo>
                <a:lnTo>
                  <a:pt x="2767" y="714"/>
                </a:lnTo>
                <a:lnTo>
                  <a:pt x="2915" y="688"/>
                </a:lnTo>
                <a:lnTo>
                  <a:pt x="3060" y="665"/>
                </a:lnTo>
                <a:lnTo>
                  <a:pt x="3208" y="644"/>
                </a:lnTo>
                <a:lnTo>
                  <a:pt x="3355" y="622"/>
                </a:lnTo>
                <a:lnTo>
                  <a:pt x="3502" y="603"/>
                </a:lnTo>
                <a:lnTo>
                  <a:pt x="3650" y="586"/>
                </a:lnTo>
                <a:lnTo>
                  <a:pt x="3795" y="568"/>
                </a:lnTo>
                <a:lnTo>
                  <a:pt x="3943" y="553"/>
                </a:lnTo>
                <a:lnTo>
                  <a:pt x="4090" y="539"/>
                </a:lnTo>
                <a:lnTo>
                  <a:pt x="4235" y="525"/>
                </a:lnTo>
                <a:lnTo>
                  <a:pt x="4383" y="514"/>
                </a:lnTo>
                <a:lnTo>
                  <a:pt x="4528" y="502"/>
                </a:lnTo>
                <a:lnTo>
                  <a:pt x="4676" y="494"/>
                </a:lnTo>
                <a:lnTo>
                  <a:pt x="4821" y="487"/>
                </a:lnTo>
                <a:lnTo>
                  <a:pt x="4967" y="479"/>
                </a:lnTo>
                <a:lnTo>
                  <a:pt x="5112" y="475"/>
                </a:lnTo>
                <a:lnTo>
                  <a:pt x="5258" y="469"/>
                </a:lnTo>
                <a:lnTo>
                  <a:pt x="5401" y="467"/>
                </a:lnTo>
                <a:lnTo>
                  <a:pt x="5546" y="465"/>
                </a:lnTo>
                <a:lnTo>
                  <a:pt x="5690" y="465"/>
                </a:lnTo>
                <a:lnTo>
                  <a:pt x="5835" y="467"/>
                </a:lnTo>
                <a:lnTo>
                  <a:pt x="5845" y="462"/>
                </a:lnTo>
                <a:lnTo>
                  <a:pt x="5855" y="452"/>
                </a:lnTo>
                <a:lnTo>
                  <a:pt x="5861" y="438"/>
                </a:lnTo>
                <a:lnTo>
                  <a:pt x="5868" y="423"/>
                </a:lnTo>
                <a:lnTo>
                  <a:pt x="5872" y="403"/>
                </a:lnTo>
                <a:lnTo>
                  <a:pt x="5876" y="382"/>
                </a:lnTo>
                <a:lnTo>
                  <a:pt x="5878" y="363"/>
                </a:lnTo>
                <a:lnTo>
                  <a:pt x="5878" y="341"/>
                </a:lnTo>
                <a:lnTo>
                  <a:pt x="5872" y="291"/>
                </a:lnTo>
                <a:lnTo>
                  <a:pt x="5868" y="242"/>
                </a:lnTo>
                <a:lnTo>
                  <a:pt x="5866" y="194"/>
                </a:lnTo>
                <a:lnTo>
                  <a:pt x="5865" y="147"/>
                </a:lnTo>
                <a:lnTo>
                  <a:pt x="5863" y="126"/>
                </a:lnTo>
                <a:lnTo>
                  <a:pt x="5861" y="105"/>
                </a:lnTo>
                <a:lnTo>
                  <a:pt x="5857" y="85"/>
                </a:lnTo>
                <a:lnTo>
                  <a:pt x="5849" y="66"/>
                </a:lnTo>
                <a:lnTo>
                  <a:pt x="5843" y="47"/>
                </a:lnTo>
                <a:lnTo>
                  <a:pt x="5835" y="31"/>
                </a:lnTo>
                <a:lnTo>
                  <a:pt x="5828" y="14"/>
                </a:lnTo>
                <a:lnTo>
                  <a:pt x="5820" y="0"/>
                </a:lnTo>
                <a:lnTo>
                  <a:pt x="5638" y="8"/>
                </a:lnTo>
                <a:lnTo>
                  <a:pt x="5457" y="16"/>
                </a:lnTo>
                <a:lnTo>
                  <a:pt x="5277" y="27"/>
                </a:lnTo>
                <a:lnTo>
                  <a:pt x="5095" y="41"/>
                </a:lnTo>
                <a:lnTo>
                  <a:pt x="4914" y="54"/>
                </a:lnTo>
                <a:lnTo>
                  <a:pt x="4732" y="72"/>
                </a:lnTo>
                <a:lnTo>
                  <a:pt x="4552" y="89"/>
                </a:lnTo>
                <a:lnTo>
                  <a:pt x="4371" y="111"/>
                </a:lnTo>
                <a:lnTo>
                  <a:pt x="4189" y="132"/>
                </a:lnTo>
                <a:lnTo>
                  <a:pt x="4009" y="155"/>
                </a:lnTo>
                <a:lnTo>
                  <a:pt x="3828" y="180"/>
                </a:lnTo>
                <a:lnTo>
                  <a:pt x="3648" y="206"/>
                </a:lnTo>
                <a:lnTo>
                  <a:pt x="3466" y="233"/>
                </a:lnTo>
                <a:lnTo>
                  <a:pt x="3285" y="262"/>
                </a:lnTo>
                <a:lnTo>
                  <a:pt x="3105" y="295"/>
                </a:lnTo>
                <a:lnTo>
                  <a:pt x="2923" y="326"/>
                </a:lnTo>
                <a:lnTo>
                  <a:pt x="2742" y="361"/>
                </a:lnTo>
                <a:lnTo>
                  <a:pt x="2562" y="396"/>
                </a:lnTo>
                <a:lnTo>
                  <a:pt x="2381" y="434"/>
                </a:lnTo>
                <a:lnTo>
                  <a:pt x="2199" y="473"/>
                </a:lnTo>
                <a:lnTo>
                  <a:pt x="2019" y="514"/>
                </a:lnTo>
                <a:lnTo>
                  <a:pt x="1838" y="555"/>
                </a:lnTo>
                <a:lnTo>
                  <a:pt x="1656" y="599"/>
                </a:lnTo>
                <a:lnTo>
                  <a:pt x="1476" y="644"/>
                </a:lnTo>
                <a:lnTo>
                  <a:pt x="1293" y="690"/>
                </a:lnTo>
                <a:lnTo>
                  <a:pt x="1111" y="737"/>
                </a:lnTo>
                <a:lnTo>
                  <a:pt x="931" y="787"/>
                </a:lnTo>
                <a:lnTo>
                  <a:pt x="748" y="838"/>
                </a:lnTo>
                <a:lnTo>
                  <a:pt x="568" y="890"/>
                </a:lnTo>
                <a:lnTo>
                  <a:pt x="386" y="944"/>
                </a:lnTo>
                <a:lnTo>
                  <a:pt x="204" y="999"/>
                </a:lnTo>
                <a:lnTo>
                  <a:pt x="21" y="1055"/>
                </a:lnTo>
                <a:lnTo>
                  <a:pt x="17" y="1059"/>
                </a:lnTo>
                <a:lnTo>
                  <a:pt x="13" y="1063"/>
                </a:lnTo>
                <a:lnTo>
                  <a:pt x="10" y="1068"/>
                </a:lnTo>
                <a:lnTo>
                  <a:pt x="8" y="1076"/>
                </a:lnTo>
                <a:lnTo>
                  <a:pt x="6" y="1084"/>
                </a:lnTo>
                <a:lnTo>
                  <a:pt x="4" y="1094"/>
                </a:lnTo>
                <a:lnTo>
                  <a:pt x="2" y="1103"/>
                </a:lnTo>
                <a:lnTo>
                  <a:pt x="0" y="1115"/>
                </a:lnTo>
                <a:lnTo>
                  <a:pt x="4" y="1136"/>
                </a:lnTo>
                <a:lnTo>
                  <a:pt x="8" y="1158"/>
                </a:lnTo>
                <a:lnTo>
                  <a:pt x="13" y="1179"/>
                </a:lnTo>
                <a:lnTo>
                  <a:pt x="19" y="1200"/>
                </a:lnTo>
                <a:lnTo>
                  <a:pt x="25" y="1222"/>
                </a:lnTo>
                <a:lnTo>
                  <a:pt x="33" y="1241"/>
                </a:lnTo>
                <a:lnTo>
                  <a:pt x="41" y="1258"/>
                </a:lnTo>
                <a:lnTo>
                  <a:pt x="50" y="1278"/>
                </a:lnTo>
                <a:lnTo>
                  <a:pt x="60" y="1295"/>
                </a:lnTo>
                <a:lnTo>
                  <a:pt x="70" y="1311"/>
                </a:lnTo>
                <a:lnTo>
                  <a:pt x="81" y="1326"/>
                </a:lnTo>
                <a:lnTo>
                  <a:pt x="95" y="1342"/>
                </a:lnTo>
                <a:lnTo>
                  <a:pt x="108" y="1353"/>
                </a:lnTo>
                <a:lnTo>
                  <a:pt x="122" y="1367"/>
                </a:lnTo>
                <a:lnTo>
                  <a:pt x="138" y="1379"/>
                </a:lnTo>
                <a:lnTo>
                  <a:pt x="155" y="1390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  <a:extLst/>
        </p:spPr>
        <p:txBody>
          <a:bodyPr/>
          <a:lstStyle/>
          <a:p>
            <a:endParaRPr lang="de-DE" sz="16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283012" y="2603466"/>
            <a:ext cx="4071432" cy="2061502"/>
            <a:chOff x="692696" y="2360712"/>
            <a:chExt cx="4071432" cy="1656184"/>
          </a:xfrm>
          <a:solidFill>
            <a:schemeClr val="accent3"/>
          </a:solidFill>
        </p:grpSpPr>
        <p:sp>
          <p:nvSpPr>
            <p:cNvPr id="105" name="Freeform 2007"/>
            <p:cNvSpPr>
              <a:spLocks/>
            </p:cNvSpPr>
            <p:nvPr/>
          </p:nvSpPr>
          <p:spPr bwMode="auto">
            <a:xfrm>
              <a:off x="692696" y="2774760"/>
              <a:ext cx="920100" cy="874098"/>
            </a:xfrm>
            <a:custGeom>
              <a:avLst/>
              <a:gdLst/>
              <a:ahLst/>
              <a:cxnLst>
                <a:cxn ang="0">
                  <a:pos x="75" y="81"/>
                </a:cxn>
                <a:cxn ang="0">
                  <a:pos x="63" y="81"/>
                </a:cxn>
                <a:cxn ang="0">
                  <a:pos x="25" y="73"/>
                </a:cxn>
                <a:cxn ang="0">
                  <a:pos x="5" y="51"/>
                </a:cxn>
                <a:cxn ang="0">
                  <a:pos x="4" y="43"/>
                </a:cxn>
                <a:cxn ang="0">
                  <a:pos x="16" y="19"/>
                </a:cxn>
                <a:cxn ang="0">
                  <a:pos x="51" y="5"/>
                </a:cxn>
                <a:cxn ang="0">
                  <a:pos x="63" y="4"/>
                </a:cxn>
                <a:cxn ang="0">
                  <a:pos x="84" y="7"/>
                </a:cxn>
                <a:cxn ang="0">
                  <a:pos x="87" y="6"/>
                </a:cxn>
                <a:cxn ang="0">
                  <a:pos x="85" y="3"/>
                </a:cxn>
                <a:cxn ang="0">
                  <a:pos x="63" y="0"/>
                </a:cxn>
                <a:cxn ang="0">
                  <a:pos x="50" y="1"/>
                </a:cxn>
                <a:cxn ang="0">
                  <a:pos x="14" y="16"/>
                </a:cxn>
                <a:cxn ang="0">
                  <a:pos x="0" y="43"/>
                </a:cxn>
                <a:cxn ang="0">
                  <a:pos x="1" y="52"/>
                </a:cxn>
                <a:cxn ang="0">
                  <a:pos x="24" y="76"/>
                </a:cxn>
                <a:cxn ang="0">
                  <a:pos x="63" y="85"/>
                </a:cxn>
                <a:cxn ang="0">
                  <a:pos x="76" y="85"/>
                </a:cxn>
                <a:cxn ang="0">
                  <a:pos x="77" y="82"/>
                </a:cxn>
                <a:cxn ang="0">
                  <a:pos x="75" y="81"/>
                </a:cxn>
              </a:cxnLst>
              <a:rect l="0" t="0" r="r" b="b"/>
              <a:pathLst>
                <a:path w="87" h="85">
                  <a:moveTo>
                    <a:pt x="75" y="81"/>
                  </a:moveTo>
                  <a:cubicBezTo>
                    <a:pt x="71" y="81"/>
                    <a:pt x="67" y="81"/>
                    <a:pt x="63" y="81"/>
                  </a:cubicBezTo>
                  <a:cubicBezTo>
                    <a:pt x="49" y="81"/>
                    <a:pt x="36" y="78"/>
                    <a:pt x="25" y="73"/>
                  </a:cubicBezTo>
                  <a:cubicBezTo>
                    <a:pt x="15" y="67"/>
                    <a:pt x="8" y="60"/>
                    <a:pt x="5" y="51"/>
                  </a:cubicBezTo>
                  <a:cubicBezTo>
                    <a:pt x="4" y="48"/>
                    <a:pt x="4" y="45"/>
                    <a:pt x="4" y="43"/>
                  </a:cubicBezTo>
                  <a:cubicBezTo>
                    <a:pt x="4" y="34"/>
                    <a:pt x="8" y="26"/>
                    <a:pt x="16" y="19"/>
                  </a:cubicBezTo>
                  <a:cubicBezTo>
                    <a:pt x="25" y="12"/>
                    <a:pt x="36" y="7"/>
                    <a:pt x="51" y="5"/>
                  </a:cubicBezTo>
                  <a:cubicBezTo>
                    <a:pt x="55" y="5"/>
                    <a:pt x="59" y="4"/>
                    <a:pt x="63" y="4"/>
                  </a:cubicBezTo>
                  <a:cubicBezTo>
                    <a:pt x="70" y="4"/>
                    <a:pt x="77" y="5"/>
                    <a:pt x="84" y="7"/>
                  </a:cubicBezTo>
                  <a:cubicBezTo>
                    <a:pt x="85" y="7"/>
                    <a:pt x="87" y="7"/>
                    <a:pt x="87" y="6"/>
                  </a:cubicBezTo>
                  <a:cubicBezTo>
                    <a:pt x="87" y="5"/>
                    <a:pt x="86" y="4"/>
                    <a:pt x="85" y="3"/>
                  </a:cubicBezTo>
                  <a:cubicBezTo>
                    <a:pt x="78" y="1"/>
                    <a:pt x="70" y="0"/>
                    <a:pt x="63" y="0"/>
                  </a:cubicBezTo>
                  <a:cubicBezTo>
                    <a:pt x="59" y="0"/>
                    <a:pt x="54" y="1"/>
                    <a:pt x="50" y="1"/>
                  </a:cubicBezTo>
                  <a:cubicBezTo>
                    <a:pt x="35" y="3"/>
                    <a:pt x="23" y="9"/>
                    <a:pt x="14" y="16"/>
                  </a:cubicBezTo>
                  <a:cubicBezTo>
                    <a:pt x="5" y="23"/>
                    <a:pt x="0" y="33"/>
                    <a:pt x="0" y="43"/>
                  </a:cubicBezTo>
                  <a:cubicBezTo>
                    <a:pt x="0" y="46"/>
                    <a:pt x="0" y="49"/>
                    <a:pt x="1" y="52"/>
                  </a:cubicBezTo>
                  <a:cubicBezTo>
                    <a:pt x="4" y="62"/>
                    <a:pt x="13" y="70"/>
                    <a:pt x="24" y="76"/>
                  </a:cubicBezTo>
                  <a:cubicBezTo>
                    <a:pt x="35" y="82"/>
                    <a:pt x="48" y="85"/>
                    <a:pt x="63" y="85"/>
                  </a:cubicBezTo>
                  <a:cubicBezTo>
                    <a:pt x="67" y="85"/>
                    <a:pt x="71" y="85"/>
                    <a:pt x="76" y="85"/>
                  </a:cubicBezTo>
                  <a:cubicBezTo>
                    <a:pt x="77" y="84"/>
                    <a:pt x="77" y="83"/>
                    <a:pt x="77" y="82"/>
                  </a:cubicBezTo>
                  <a:cubicBezTo>
                    <a:pt x="77" y="81"/>
                    <a:pt x="76" y="80"/>
                    <a:pt x="75" y="81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6" name="Freeform 2008"/>
            <p:cNvSpPr>
              <a:spLocks/>
            </p:cNvSpPr>
            <p:nvPr/>
          </p:nvSpPr>
          <p:spPr bwMode="auto">
            <a:xfrm>
              <a:off x="1405769" y="2544734"/>
              <a:ext cx="920100" cy="276028"/>
            </a:xfrm>
            <a:custGeom>
              <a:avLst/>
              <a:gdLst/>
              <a:ahLst/>
              <a:cxnLst>
                <a:cxn ang="0">
                  <a:pos x="4" y="25"/>
                </a:cxn>
                <a:cxn ang="0">
                  <a:pos x="22" y="10"/>
                </a:cxn>
                <a:cxn ang="0">
                  <a:pos x="50" y="4"/>
                </a:cxn>
                <a:cxn ang="0">
                  <a:pos x="69" y="6"/>
                </a:cxn>
                <a:cxn ang="0">
                  <a:pos x="82" y="12"/>
                </a:cxn>
                <a:cxn ang="0">
                  <a:pos x="85" y="11"/>
                </a:cxn>
                <a:cxn ang="0">
                  <a:pos x="84" y="8"/>
                </a:cxn>
                <a:cxn ang="0">
                  <a:pos x="70" y="3"/>
                </a:cxn>
                <a:cxn ang="0">
                  <a:pos x="50" y="0"/>
                </a:cxn>
                <a:cxn ang="0">
                  <a:pos x="21" y="6"/>
                </a:cxn>
                <a:cxn ang="0">
                  <a:pos x="0" y="23"/>
                </a:cxn>
                <a:cxn ang="0">
                  <a:pos x="1" y="25"/>
                </a:cxn>
                <a:cxn ang="0">
                  <a:pos x="4" y="25"/>
                </a:cxn>
              </a:cxnLst>
              <a:rect l="0" t="0" r="r" b="b"/>
              <a:pathLst>
                <a:path w="86" h="26">
                  <a:moveTo>
                    <a:pt x="4" y="25"/>
                  </a:moveTo>
                  <a:cubicBezTo>
                    <a:pt x="8" y="18"/>
                    <a:pt x="14" y="13"/>
                    <a:pt x="22" y="10"/>
                  </a:cubicBezTo>
                  <a:cubicBezTo>
                    <a:pt x="31" y="6"/>
                    <a:pt x="40" y="4"/>
                    <a:pt x="50" y="4"/>
                  </a:cubicBezTo>
                  <a:cubicBezTo>
                    <a:pt x="57" y="4"/>
                    <a:pt x="63" y="5"/>
                    <a:pt x="69" y="6"/>
                  </a:cubicBezTo>
                  <a:cubicBezTo>
                    <a:pt x="74" y="8"/>
                    <a:pt x="78" y="9"/>
                    <a:pt x="82" y="12"/>
                  </a:cubicBezTo>
                  <a:cubicBezTo>
                    <a:pt x="83" y="12"/>
                    <a:pt x="84" y="12"/>
                    <a:pt x="85" y="11"/>
                  </a:cubicBezTo>
                  <a:cubicBezTo>
                    <a:pt x="86" y="10"/>
                    <a:pt x="85" y="9"/>
                    <a:pt x="84" y="8"/>
                  </a:cubicBezTo>
                  <a:cubicBezTo>
                    <a:pt x="80" y="6"/>
                    <a:pt x="75" y="4"/>
                    <a:pt x="70" y="3"/>
                  </a:cubicBezTo>
                  <a:cubicBezTo>
                    <a:pt x="64" y="1"/>
                    <a:pt x="57" y="0"/>
                    <a:pt x="50" y="0"/>
                  </a:cubicBezTo>
                  <a:cubicBezTo>
                    <a:pt x="40" y="0"/>
                    <a:pt x="30" y="2"/>
                    <a:pt x="21" y="6"/>
                  </a:cubicBezTo>
                  <a:cubicBezTo>
                    <a:pt x="12" y="10"/>
                    <a:pt x="5" y="15"/>
                    <a:pt x="0" y="23"/>
                  </a:cubicBezTo>
                  <a:cubicBezTo>
                    <a:pt x="0" y="24"/>
                    <a:pt x="0" y="25"/>
                    <a:pt x="1" y="25"/>
                  </a:cubicBezTo>
                  <a:cubicBezTo>
                    <a:pt x="2" y="26"/>
                    <a:pt x="3" y="26"/>
                    <a:pt x="4" y="25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7" name="Freeform 2009"/>
            <p:cNvSpPr>
              <a:spLocks/>
            </p:cNvSpPr>
            <p:nvPr/>
          </p:nvSpPr>
          <p:spPr bwMode="auto">
            <a:xfrm>
              <a:off x="2233858" y="2360712"/>
              <a:ext cx="1426153" cy="552061"/>
            </a:xfrm>
            <a:custGeom>
              <a:avLst/>
              <a:gdLst/>
              <a:ahLst/>
              <a:cxnLst>
                <a:cxn ang="0">
                  <a:pos x="4" y="41"/>
                </a:cxn>
                <a:cxn ang="0">
                  <a:pos x="24" y="15"/>
                </a:cxn>
                <a:cxn ang="0">
                  <a:pos x="67" y="4"/>
                </a:cxn>
                <a:cxn ang="0">
                  <a:pos x="73" y="4"/>
                </a:cxn>
                <a:cxn ang="0">
                  <a:pos x="115" y="18"/>
                </a:cxn>
                <a:cxn ang="0">
                  <a:pos x="131" y="45"/>
                </a:cxn>
                <a:cxn ang="0">
                  <a:pos x="131" y="49"/>
                </a:cxn>
                <a:cxn ang="0">
                  <a:pos x="131" y="49"/>
                </a:cxn>
                <a:cxn ang="0">
                  <a:pos x="130" y="51"/>
                </a:cxn>
                <a:cxn ang="0">
                  <a:pos x="132" y="53"/>
                </a:cxn>
                <a:cxn ang="0">
                  <a:pos x="134" y="52"/>
                </a:cxn>
                <a:cxn ang="0">
                  <a:pos x="134" y="50"/>
                </a:cxn>
                <a:cxn ang="0">
                  <a:pos x="134" y="50"/>
                </a:cxn>
                <a:cxn ang="0">
                  <a:pos x="135" y="45"/>
                </a:cxn>
                <a:cxn ang="0">
                  <a:pos x="117" y="14"/>
                </a:cxn>
                <a:cxn ang="0">
                  <a:pos x="74" y="0"/>
                </a:cxn>
                <a:cxn ang="0">
                  <a:pos x="67" y="0"/>
                </a:cxn>
                <a:cxn ang="0">
                  <a:pos x="22" y="11"/>
                </a:cxn>
                <a:cxn ang="0">
                  <a:pos x="0" y="41"/>
                </a:cxn>
                <a:cxn ang="0">
                  <a:pos x="1" y="43"/>
                </a:cxn>
                <a:cxn ang="0">
                  <a:pos x="4" y="41"/>
                </a:cxn>
              </a:cxnLst>
              <a:rect l="0" t="0" r="r" b="b"/>
              <a:pathLst>
                <a:path w="135" h="53">
                  <a:moveTo>
                    <a:pt x="4" y="41"/>
                  </a:moveTo>
                  <a:cubicBezTo>
                    <a:pt x="5" y="31"/>
                    <a:pt x="13" y="21"/>
                    <a:pt x="24" y="15"/>
                  </a:cubicBezTo>
                  <a:cubicBezTo>
                    <a:pt x="35" y="8"/>
                    <a:pt x="51" y="4"/>
                    <a:pt x="67" y="4"/>
                  </a:cubicBezTo>
                  <a:cubicBezTo>
                    <a:pt x="69" y="4"/>
                    <a:pt x="71" y="4"/>
                    <a:pt x="73" y="4"/>
                  </a:cubicBezTo>
                  <a:cubicBezTo>
                    <a:pt x="90" y="5"/>
                    <a:pt x="104" y="10"/>
                    <a:pt x="115" y="18"/>
                  </a:cubicBezTo>
                  <a:cubicBezTo>
                    <a:pt x="125" y="25"/>
                    <a:pt x="131" y="35"/>
                    <a:pt x="131" y="45"/>
                  </a:cubicBezTo>
                  <a:cubicBezTo>
                    <a:pt x="131" y="47"/>
                    <a:pt x="131" y="48"/>
                    <a:pt x="131" y="49"/>
                  </a:cubicBezTo>
                  <a:cubicBezTo>
                    <a:pt x="131" y="49"/>
                    <a:pt x="131" y="49"/>
                    <a:pt x="131" y="49"/>
                  </a:cubicBezTo>
                  <a:cubicBezTo>
                    <a:pt x="130" y="50"/>
                    <a:pt x="130" y="50"/>
                    <a:pt x="130" y="51"/>
                  </a:cubicBezTo>
                  <a:cubicBezTo>
                    <a:pt x="130" y="52"/>
                    <a:pt x="131" y="53"/>
                    <a:pt x="132" y="53"/>
                  </a:cubicBezTo>
                  <a:cubicBezTo>
                    <a:pt x="133" y="53"/>
                    <a:pt x="134" y="53"/>
                    <a:pt x="134" y="52"/>
                  </a:cubicBezTo>
                  <a:cubicBezTo>
                    <a:pt x="134" y="51"/>
                    <a:pt x="134" y="50"/>
                    <a:pt x="134" y="50"/>
                  </a:cubicBezTo>
                  <a:cubicBezTo>
                    <a:pt x="134" y="50"/>
                    <a:pt x="134" y="50"/>
                    <a:pt x="134" y="50"/>
                  </a:cubicBezTo>
                  <a:cubicBezTo>
                    <a:pt x="135" y="48"/>
                    <a:pt x="135" y="47"/>
                    <a:pt x="135" y="45"/>
                  </a:cubicBezTo>
                  <a:cubicBezTo>
                    <a:pt x="135" y="33"/>
                    <a:pt x="128" y="22"/>
                    <a:pt x="117" y="14"/>
                  </a:cubicBezTo>
                  <a:cubicBezTo>
                    <a:pt x="106" y="6"/>
                    <a:pt x="91" y="1"/>
                    <a:pt x="74" y="0"/>
                  </a:cubicBezTo>
                  <a:cubicBezTo>
                    <a:pt x="71" y="0"/>
                    <a:pt x="69" y="0"/>
                    <a:pt x="67" y="0"/>
                  </a:cubicBezTo>
                  <a:cubicBezTo>
                    <a:pt x="50" y="0"/>
                    <a:pt x="34" y="4"/>
                    <a:pt x="22" y="11"/>
                  </a:cubicBezTo>
                  <a:cubicBezTo>
                    <a:pt x="10" y="18"/>
                    <a:pt x="1" y="29"/>
                    <a:pt x="0" y="41"/>
                  </a:cubicBezTo>
                  <a:cubicBezTo>
                    <a:pt x="0" y="42"/>
                    <a:pt x="0" y="43"/>
                    <a:pt x="1" y="43"/>
                  </a:cubicBezTo>
                  <a:cubicBezTo>
                    <a:pt x="2" y="43"/>
                    <a:pt x="4" y="42"/>
                    <a:pt x="4" y="41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8" name="Freeform 2010"/>
            <p:cNvSpPr>
              <a:spLocks/>
            </p:cNvSpPr>
            <p:nvPr/>
          </p:nvSpPr>
          <p:spPr bwMode="auto">
            <a:xfrm>
              <a:off x="3521998" y="2521724"/>
              <a:ext cx="759088" cy="414048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23" y="4"/>
                </a:cxn>
                <a:cxn ang="0">
                  <a:pos x="64" y="20"/>
                </a:cxn>
                <a:cxn ang="0">
                  <a:pos x="68" y="33"/>
                </a:cxn>
                <a:cxn ang="0">
                  <a:pos x="68" y="39"/>
                </a:cxn>
                <a:cxn ang="0">
                  <a:pos x="69" y="41"/>
                </a:cxn>
                <a:cxn ang="0">
                  <a:pos x="72" y="40"/>
                </a:cxn>
                <a:cxn ang="0">
                  <a:pos x="72" y="33"/>
                </a:cxn>
                <a:cxn ang="0">
                  <a:pos x="67" y="18"/>
                </a:cxn>
                <a:cxn ang="0">
                  <a:pos x="23" y="0"/>
                </a:cxn>
                <a:cxn ang="0">
                  <a:pos x="1" y="3"/>
                </a:cxn>
                <a:cxn ang="0">
                  <a:pos x="0" y="6"/>
                </a:cxn>
                <a:cxn ang="0">
                  <a:pos x="2" y="7"/>
                </a:cxn>
              </a:cxnLst>
              <a:rect l="0" t="0" r="r" b="b"/>
              <a:pathLst>
                <a:path w="72" h="41">
                  <a:moveTo>
                    <a:pt x="2" y="7"/>
                  </a:moveTo>
                  <a:cubicBezTo>
                    <a:pt x="9" y="5"/>
                    <a:pt x="16" y="4"/>
                    <a:pt x="23" y="4"/>
                  </a:cubicBezTo>
                  <a:cubicBezTo>
                    <a:pt x="40" y="4"/>
                    <a:pt x="56" y="10"/>
                    <a:pt x="64" y="20"/>
                  </a:cubicBezTo>
                  <a:cubicBezTo>
                    <a:pt x="67" y="25"/>
                    <a:pt x="68" y="29"/>
                    <a:pt x="68" y="33"/>
                  </a:cubicBezTo>
                  <a:cubicBezTo>
                    <a:pt x="68" y="35"/>
                    <a:pt x="68" y="37"/>
                    <a:pt x="68" y="39"/>
                  </a:cubicBezTo>
                  <a:cubicBezTo>
                    <a:pt x="67" y="40"/>
                    <a:pt x="68" y="41"/>
                    <a:pt x="69" y="41"/>
                  </a:cubicBezTo>
                  <a:cubicBezTo>
                    <a:pt x="70" y="41"/>
                    <a:pt x="71" y="41"/>
                    <a:pt x="72" y="40"/>
                  </a:cubicBezTo>
                  <a:cubicBezTo>
                    <a:pt x="72" y="38"/>
                    <a:pt x="72" y="35"/>
                    <a:pt x="72" y="33"/>
                  </a:cubicBezTo>
                  <a:cubicBezTo>
                    <a:pt x="72" y="28"/>
                    <a:pt x="71" y="23"/>
                    <a:pt x="67" y="18"/>
                  </a:cubicBezTo>
                  <a:cubicBezTo>
                    <a:pt x="58" y="6"/>
                    <a:pt x="41" y="0"/>
                    <a:pt x="23" y="0"/>
                  </a:cubicBezTo>
                  <a:cubicBezTo>
                    <a:pt x="16" y="0"/>
                    <a:pt x="8" y="1"/>
                    <a:pt x="1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7"/>
                    <a:pt x="1" y="8"/>
                    <a:pt x="2" y="7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9" name="Freeform 2011"/>
            <p:cNvSpPr>
              <a:spLocks/>
            </p:cNvSpPr>
            <p:nvPr/>
          </p:nvSpPr>
          <p:spPr bwMode="auto">
            <a:xfrm>
              <a:off x="3798025" y="2889763"/>
              <a:ext cx="966103" cy="966103"/>
            </a:xfrm>
            <a:custGeom>
              <a:avLst/>
              <a:gdLst/>
              <a:ahLst/>
              <a:cxnLst>
                <a:cxn ang="0">
                  <a:pos x="32" y="4"/>
                </a:cxn>
                <a:cxn ang="0">
                  <a:pos x="72" y="18"/>
                </a:cxn>
                <a:cxn ang="0">
                  <a:pos x="87" y="45"/>
                </a:cxn>
                <a:cxn ang="0">
                  <a:pos x="87" y="51"/>
                </a:cxn>
                <a:cxn ang="0">
                  <a:pos x="66" y="76"/>
                </a:cxn>
                <a:cxn ang="0">
                  <a:pos x="24" y="87"/>
                </a:cxn>
                <a:cxn ang="0">
                  <a:pos x="15" y="86"/>
                </a:cxn>
                <a:cxn ang="0">
                  <a:pos x="2" y="84"/>
                </a:cxn>
                <a:cxn ang="0">
                  <a:pos x="0" y="86"/>
                </a:cxn>
                <a:cxn ang="0">
                  <a:pos x="2" y="88"/>
                </a:cxn>
                <a:cxn ang="0">
                  <a:pos x="15" y="90"/>
                </a:cxn>
                <a:cxn ang="0">
                  <a:pos x="24" y="91"/>
                </a:cxn>
                <a:cxn ang="0">
                  <a:pos x="68" y="80"/>
                </a:cxn>
                <a:cxn ang="0">
                  <a:pos x="91" y="51"/>
                </a:cxn>
                <a:cxn ang="0">
                  <a:pos x="91" y="45"/>
                </a:cxn>
                <a:cxn ang="0">
                  <a:pos x="74" y="15"/>
                </a:cxn>
                <a:cxn ang="0">
                  <a:pos x="32" y="0"/>
                </a:cxn>
                <a:cxn ang="0">
                  <a:pos x="30" y="2"/>
                </a:cxn>
                <a:cxn ang="0">
                  <a:pos x="32" y="4"/>
                </a:cxn>
              </a:cxnLst>
              <a:rect l="0" t="0" r="r" b="b"/>
              <a:pathLst>
                <a:path w="91" h="91">
                  <a:moveTo>
                    <a:pt x="32" y="4"/>
                  </a:moveTo>
                  <a:cubicBezTo>
                    <a:pt x="48" y="5"/>
                    <a:pt x="62" y="11"/>
                    <a:pt x="72" y="18"/>
                  </a:cubicBezTo>
                  <a:cubicBezTo>
                    <a:pt x="82" y="26"/>
                    <a:pt x="87" y="35"/>
                    <a:pt x="87" y="45"/>
                  </a:cubicBezTo>
                  <a:cubicBezTo>
                    <a:pt x="87" y="47"/>
                    <a:pt x="87" y="49"/>
                    <a:pt x="87" y="51"/>
                  </a:cubicBezTo>
                  <a:cubicBezTo>
                    <a:pt x="85" y="61"/>
                    <a:pt x="77" y="70"/>
                    <a:pt x="66" y="76"/>
                  </a:cubicBezTo>
                  <a:cubicBezTo>
                    <a:pt x="54" y="83"/>
                    <a:pt x="40" y="87"/>
                    <a:pt x="24" y="87"/>
                  </a:cubicBezTo>
                  <a:cubicBezTo>
                    <a:pt x="21" y="87"/>
                    <a:pt x="18" y="87"/>
                    <a:pt x="15" y="86"/>
                  </a:cubicBezTo>
                  <a:cubicBezTo>
                    <a:pt x="11" y="86"/>
                    <a:pt x="7" y="85"/>
                    <a:pt x="2" y="84"/>
                  </a:cubicBezTo>
                  <a:cubicBezTo>
                    <a:pt x="1" y="84"/>
                    <a:pt x="0" y="85"/>
                    <a:pt x="0" y="86"/>
                  </a:cubicBezTo>
                  <a:cubicBezTo>
                    <a:pt x="0" y="87"/>
                    <a:pt x="1" y="88"/>
                    <a:pt x="2" y="88"/>
                  </a:cubicBezTo>
                  <a:cubicBezTo>
                    <a:pt x="6" y="89"/>
                    <a:pt x="10" y="90"/>
                    <a:pt x="15" y="90"/>
                  </a:cubicBezTo>
                  <a:cubicBezTo>
                    <a:pt x="18" y="91"/>
                    <a:pt x="21" y="91"/>
                    <a:pt x="24" y="91"/>
                  </a:cubicBezTo>
                  <a:cubicBezTo>
                    <a:pt x="40" y="91"/>
                    <a:pt x="56" y="87"/>
                    <a:pt x="68" y="80"/>
                  </a:cubicBezTo>
                  <a:cubicBezTo>
                    <a:pt x="80" y="73"/>
                    <a:pt x="88" y="63"/>
                    <a:pt x="91" y="51"/>
                  </a:cubicBezTo>
                  <a:cubicBezTo>
                    <a:pt x="91" y="49"/>
                    <a:pt x="91" y="47"/>
                    <a:pt x="91" y="45"/>
                  </a:cubicBezTo>
                  <a:cubicBezTo>
                    <a:pt x="91" y="34"/>
                    <a:pt x="85" y="23"/>
                    <a:pt x="74" y="15"/>
                  </a:cubicBezTo>
                  <a:cubicBezTo>
                    <a:pt x="64" y="7"/>
                    <a:pt x="49" y="2"/>
                    <a:pt x="32" y="0"/>
                  </a:cubicBezTo>
                  <a:cubicBezTo>
                    <a:pt x="31" y="0"/>
                    <a:pt x="30" y="1"/>
                    <a:pt x="30" y="2"/>
                  </a:cubicBezTo>
                  <a:cubicBezTo>
                    <a:pt x="30" y="3"/>
                    <a:pt x="31" y="4"/>
                    <a:pt x="32" y="4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0" name="Freeform 2012"/>
            <p:cNvSpPr>
              <a:spLocks/>
            </p:cNvSpPr>
            <p:nvPr/>
          </p:nvSpPr>
          <p:spPr bwMode="auto">
            <a:xfrm>
              <a:off x="2532896" y="3668860"/>
              <a:ext cx="1368646" cy="276028"/>
            </a:xfrm>
            <a:custGeom>
              <a:avLst/>
              <a:gdLst/>
              <a:ahLst/>
              <a:cxnLst>
                <a:cxn ang="0">
                  <a:pos x="107" y="1"/>
                </a:cxn>
                <a:cxn ang="0">
                  <a:pos x="55" y="22"/>
                </a:cxn>
                <a:cxn ang="0">
                  <a:pos x="26" y="17"/>
                </a:cxn>
                <a:cxn ang="0">
                  <a:pos x="4" y="2"/>
                </a:cxn>
                <a:cxn ang="0">
                  <a:pos x="1" y="2"/>
                </a:cxn>
                <a:cxn ang="0">
                  <a:pos x="1" y="5"/>
                </a:cxn>
                <a:cxn ang="0">
                  <a:pos x="25" y="21"/>
                </a:cxn>
                <a:cxn ang="0">
                  <a:pos x="55" y="26"/>
                </a:cxn>
                <a:cxn ang="0">
                  <a:pos x="110" y="4"/>
                </a:cxn>
                <a:cxn ang="0">
                  <a:pos x="110" y="1"/>
                </a:cxn>
                <a:cxn ang="0">
                  <a:pos x="107" y="1"/>
                </a:cxn>
              </a:cxnLst>
              <a:rect l="0" t="0" r="r" b="b"/>
              <a:pathLst>
                <a:path w="111" h="26">
                  <a:moveTo>
                    <a:pt x="107" y="1"/>
                  </a:moveTo>
                  <a:cubicBezTo>
                    <a:pt x="96" y="14"/>
                    <a:pt x="76" y="22"/>
                    <a:pt x="55" y="22"/>
                  </a:cubicBezTo>
                  <a:cubicBezTo>
                    <a:pt x="45" y="22"/>
                    <a:pt x="35" y="20"/>
                    <a:pt x="26" y="17"/>
                  </a:cubicBezTo>
                  <a:cubicBezTo>
                    <a:pt x="17" y="13"/>
                    <a:pt x="9" y="8"/>
                    <a:pt x="4" y="2"/>
                  </a:cubicBezTo>
                  <a:cubicBezTo>
                    <a:pt x="3" y="1"/>
                    <a:pt x="2" y="1"/>
                    <a:pt x="1" y="2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6" y="11"/>
                    <a:pt x="15" y="17"/>
                    <a:pt x="25" y="21"/>
                  </a:cubicBezTo>
                  <a:cubicBezTo>
                    <a:pt x="34" y="24"/>
                    <a:pt x="45" y="26"/>
                    <a:pt x="55" y="26"/>
                  </a:cubicBezTo>
                  <a:cubicBezTo>
                    <a:pt x="77" y="26"/>
                    <a:pt x="98" y="18"/>
                    <a:pt x="110" y="4"/>
                  </a:cubicBezTo>
                  <a:cubicBezTo>
                    <a:pt x="111" y="3"/>
                    <a:pt x="110" y="2"/>
                    <a:pt x="110" y="1"/>
                  </a:cubicBezTo>
                  <a:cubicBezTo>
                    <a:pt x="109" y="0"/>
                    <a:pt x="108" y="0"/>
                    <a:pt x="107" y="1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1" name="Freeform 2013"/>
            <p:cNvSpPr>
              <a:spLocks/>
            </p:cNvSpPr>
            <p:nvPr/>
          </p:nvSpPr>
          <p:spPr bwMode="auto">
            <a:xfrm>
              <a:off x="1474782" y="3533835"/>
              <a:ext cx="1104117" cy="483061"/>
            </a:xfrm>
            <a:custGeom>
              <a:avLst/>
              <a:gdLst/>
              <a:ahLst/>
              <a:cxnLst>
                <a:cxn ang="0">
                  <a:pos x="100" y="8"/>
                </a:cxn>
                <a:cxn ang="0">
                  <a:pos x="100" y="9"/>
                </a:cxn>
                <a:cxn ang="0">
                  <a:pos x="87" y="31"/>
                </a:cxn>
                <a:cxn ang="0">
                  <a:pos x="54" y="42"/>
                </a:cxn>
                <a:cxn ang="0">
                  <a:pos x="52" y="42"/>
                </a:cxn>
                <a:cxn ang="0">
                  <a:pos x="18" y="32"/>
                </a:cxn>
                <a:cxn ang="0">
                  <a:pos x="4" y="10"/>
                </a:cxn>
                <a:cxn ang="0">
                  <a:pos x="4" y="9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1" y="1"/>
                </a:cxn>
                <a:cxn ang="0">
                  <a:pos x="0" y="9"/>
                </a:cxn>
                <a:cxn ang="0">
                  <a:pos x="0" y="10"/>
                </a:cxn>
                <a:cxn ang="0">
                  <a:pos x="16" y="36"/>
                </a:cxn>
                <a:cxn ang="0">
                  <a:pos x="52" y="46"/>
                </a:cxn>
                <a:cxn ang="0">
                  <a:pos x="54" y="46"/>
                </a:cxn>
                <a:cxn ang="0">
                  <a:pos x="89" y="35"/>
                </a:cxn>
                <a:cxn ang="0">
                  <a:pos x="104" y="9"/>
                </a:cxn>
                <a:cxn ang="0">
                  <a:pos x="104" y="8"/>
                </a:cxn>
                <a:cxn ang="0">
                  <a:pos x="102" y="6"/>
                </a:cxn>
                <a:cxn ang="0">
                  <a:pos x="100" y="8"/>
                </a:cxn>
              </a:cxnLst>
              <a:rect l="0" t="0" r="r" b="b"/>
              <a:pathLst>
                <a:path w="104" h="46">
                  <a:moveTo>
                    <a:pt x="100" y="8"/>
                  </a:moveTo>
                  <a:cubicBezTo>
                    <a:pt x="100" y="9"/>
                    <a:pt x="100" y="9"/>
                    <a:pt x="100" y="9"/>
                  </a:cubicBezTo>
                  <a:cubicBezTo>
                    <a:pt x="100" y="18"/>
                    <a:pt x="96" y="26"/>
                    <a:pt x="87" y="31"/>
                  </a:cubicBezTo>
                  <a:cubicBezTo>
                    <a:pt x="79" y="37"/>
                    <a:pt x="67" y="41"/>
                    <a:pt x="54" y="42"/>
                  </a:cubicBezTo>
                  <a:cubicBezTo>
                    <a:pt x="53" y="42"/>
                    <a:pt x="52" y="42"/>
                    <a:pt x="52" y="42"/>
                  </a:cubicBezTo>
                  <a:cubicBezTo>
                    <a:pt x="39" y="42"/>
                    <a:pt x="27" y="38"/>
                    <a:pt x="18" y="32"/>
                  </a:cubicBezTo>
                  <a:cubicBezTo>
                    <a:pt x="9" y="26"/>
                    <a:pt x="4" y="19"/>
                    <a:pt x="4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7"/>
                    <a:pt x="4" y="5"/>
                    <a:pt x="5" y="2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4"/>
                    <a:pt x="0" y="7"/>
                    <a:pt x="0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20"/>
                    <a:pt x="6" y="29"/>
                    <a:pt x="16" y="36"/>
                  </a:cubicBezTo>
                  <a:cubicBezTo>
                    <a:pt x="25" y="42"/>
                    <a:pt x="38" y="46"/>
                    <a:pt x="52" y="46"/>
                  </a:cubicBezTo>
                  <a:cubicBezTo>
                    <a:pt x="53" y="46"/>
                    <a:pt x="53" y="46"/>
                    <a:pt x="54" y="46"/>
                  </a:cubicBezTo>
                  <a:cubicBezTo>
                    <a:pt x="68" y="45"/>
                    <a:pt x="80" y="41"/>
                    <a:pt x="89" y="35"/>
                  </a:cubicBezTo>
                  <a:cubicBezTo>
                    <a:pt x="99" y="28"/>
                    <a:pt x="104" y="19"/>
                    <a:pt x="104" y="9"/>
                  </a:cubicBezTo>
                  <a:cubicBezTo>
                    <a:pt x="104" y="9"/>
                    <a:pt x="104" y="8"/>
                    <a:pt x="104" y="8"/>
                  </a:cubicBezTo>
                  <a:cubicBezTo>
                    <a:pt x="104" y="7"/>
                    <a:pt x="103" y="6"/>
                    <a:pt x="102" y="6"/>
                  </a:cubicBezTo>
                  <a:cubicBezTo>
                    <a:pt x="101" y="6"/>
                    <a:pt x="100" y="7"/>
                    <a:pt x="100" y="8"/>
                  </a:cubicBezTo>
                  <a:close/>
                </a:path>
              </a:pathLst>
            </a:custGeom>
            <a:grpFill/>
            <a:ln w="38100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0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332656" y="8625408"/>
            <a:ext cx="619269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latin typeface="NeulandFontEuro" panose="00000400000000000000" pitchFamily="2" charset="0"/>
              </a:rPr>
              <a:t>In der Vorlage wird die kostenlose Standardschrift NeulandFontEuro verwendet.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EABBA55-7961-4A97-8A22-B50DD168CDA3}"/>
              </a:ext>
            </a:extLst>
          </p:cNvPr>
          <p:cNvGrpSpPr/>
          <p:nvPr/>
        </p:nvGrpSpPr>
        <p:grpSpPr>
          <a:xfrm rot="10800000">
            <a:off x="3312058" y="1767379"/>
            <a:ext cx="536797" cy="759677"/>
            <a:chOff x="8618861" y="3254911"/>
            <a:chExt cx="403713" cy="572784"/>
          </a:xfrm>
        </p:grpSpPr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128F8DF9-341D-4AC5-91D0-949E8F91BB6B}"/>
                </a:ext>
              </a:extLst>
            </p:cNvPr>
            <p:cNvSpPr>
              <a:spLocks/>
            </p:cNvSpPr>
            <p:nvPr/>
          </p:nvSpPr>
          <p:spPr bwMode="gray">
            <a:xfrm rot="4080801" flipH="1">
              <a:off x="8501472" y="3430906"/>
              <a:ext cx="514178" cy="279400"/>
            </a:xfrm>
            <a:custGeom>
              <a:avLst/>
              <a:gdLst>
                <a:gd name="T0" fmla="*/ 159 w 5878"/>
                <a:gd name="T1" fmla="*/ 1390 h 1390"/>
                <a:gd name="T2" fmla="*/ 238 w 5878"/>
                <a:gd name="T3" fmla="*/ 1330 h 1390"/>
                <a:gd name="T4" fmla="*/ 324 w 5878"/>
                <a:gd name="T5" fmla="*/ 1307 h 1390"/>
                <a:gd name="T6" fmla="*/ 409 w 5878"/>
                <a:gd name="T7" fmla="*/ 1280 h 1390"/>
                <a:gd name="T8" fmla="*/ 496 w 5878"/>
                <a:gd name="T9" fmla="*/ 1255 h 1390"/>
                <a:gd name="T10" fmla="*/ 582 w 5878"/>
                <a:gd name="T11" fmla="*/ 1227 h 1390"/>
                <a:gd name="T12" fmla="*/ 667 w 5878"/>
                <a:gd name="T13" fmla="*/ 1200 h 1390"/>
                <a:gd name="T14" fmla="*/ 754 w 5878"/>
                <a:gd name="T15" fmla="*/ 1173 h 1390"/>
                <a:gd name="T16" fmla="*/ 838 w 5878"/>
                <a:gd name="T17" fmla="*/ 1146 h 1390"/>
                <a:gd name="T18" fmla="*/ 925 w 5878"/>
                <a:gd name="T19" fmla="*/ 1121 h 1390"/>
                <a:gd name="T20" fmla="*/ 1010 w 5878"/>
                <a:gd name="T21" fmla="*/ 1097 h 1390"/>
                <a:gd name="T22" fmla="*/ 1096 w 5878"/>
                <a:gd name="T23" fmla="*/ 1076 h 1390"/>
                <a:gd name="T24" fmla="*/ 1299 w 5878"/>
                <a:gd name="T25" fmla="*/ 1024 h 1390"/>
                <a:gd name="T26" fmla="*/ 1738 w 5878"/>
                <a:gd name="T27" fmla="*/ 919 h 1390"/>
                <a:gd name="T28" fmla="*/ 2178 w 5878"/>
                <a:gd name="T29" fmla="*/ 824 h 1390"/>
                <a:gd name="T30" fmla="*/ 2620 w 5878"/>
                <a:gd name="T31" fmla="*/ 739 h 1390"/>
                <a:gd name="T32" fmla="*/ 3060 w 5878"/>
                <a:gd name="T33" fmla="*/ 665 h 1390"/>
                <a:gd name="T34" fmla="*/ 3502 w 5878"/>
                <a:gd name="T35" fmla="*/ 603 h 1390"/>
                <a:gd name="T36" fmla="*/ 3943 w 5878"/>
                <a:gd name="T37" fmla="*/ 553 h 1390"/>
                <a:gd name="T38" fmla="*/ 4383 w 5878"/>
                <a:gd name="T39" fmla="*/ 514 h 1390"/>
                <a:gd name="T40" fmla="*/ 4821 w 5878"/>
                <a:gd name="T41" fmla="*/ 487 h 1390"/>
                <a:gd name="T42" fmla="*/ 5258 w 5878"/>
                <a:gd name="T43" fmla="*/ 469 h 1390"/>
                <a:gd name="T44" fmla="*/ 5690 w 5878"/>
                <a:gd name="T45" fmla="*/ 465 h 1390"/>
                <a:gd name="T46" fmla="*/ 5855 w 5878"/>
                <a:gd name="T47" fmla="*/ 452 h 1390"/>
                <a:gd name="T48" fmla="*/ 5872 w 5878"/>
                <a:gd name="T49" fmla="*/ 403 h 1390"/>
                <a:gd name="T50" fmla="*/ 5878 w 5878"/>
                <a:gd name="T51" fmla="*/ 341 h 1390"/>
                <a:gd name="T52" fmla="*/ 5866 w 5878"/>
                <a:gd name="T53" fmla="*/ 194 h 1390"/>
                <a:gd name="T54" fmla="*/ 5861 w 5878"/>
                <a:gd name="T55" fmla="*/ 105 h 1390"/>
                <a:gd name="T56" fmla="*/ 5843 w 5878"/>
                <a:gd name="T57" fmla="*/ 47 h 1390"/>
                <a:gd name="T58" fmla="*/ 5820 w 5878"/>
                <a:gd name="T59" fmla="*/ 0 h 1390"/>
                <a:gd name="T60" fmla="*/ 5277 w 5878"/>
                <a:gd name="T61" fmla="*/ 27 h 1390"/>
                <a:gd name="T62" fmla="*/ 4732 w 5878"/>
                <a:gd name="T63" fmla="*/ 72 h 1390"/>
                <a:gd name="T64" fmla="*/ 4189 w 5878"/>
                <a:gd name="T65" fmla="*/ 132 h 1390"/>
                <a:gd name="T66" fmla="*/ 3648 w 5878"/>
                <a:gd name="T67" fmla="*/ 206 h 1390"/>
                <a:gd name="T68" fmla="*/ 3105 w 5878"/>
                <a:gd name="T69" fmla="*/ 295 h 1390"/>
                <a:gd name="T70" fmla="*/ 2562 w 5878"/>
                <a:gd name="T71" fmla="*/ 396 h 1390"/>
                <a:gd name="T72" fmla="*/ 2019 w 5878"/>
                <a:gd name="T73" fmla="*/ 514 h 1390"/>
                <a:gd name="T74" fmla="*/ 1476 w 5878"/>
                <a:gd name="T75" fmla="*/ 644 h 1390"/>
                <a:gd name="T76" fmla="*/ 931 w 5878"/>
                <a:gd name="T77" fmla="*/ 787 h 1390"/>
                <a:gd name="T78" fmla="*/ 386 w 5878"/>
                <a:gd name="T79" fmla="*/ 944 h 1390"/>
                <a:gd name="T80" fmla="*/ 17 w 5878"/>
                <a:gd name="T81" fmla="*/ 1059 h 1390"/>
                <a:gd name="T82" fmla="*/ 8 w 5878"/>
                <a:gd name="T83" fmla="*/ 1076 h 1390"/>
                <a:gd name="T84" fmla="*/ 2 w 5878"/>
                <a:gd name="T85" fmla="*/ 1103 h 1390"/>
                <a:gd name="T86" fmla="*/ 8 w 5878"/>
                <a:gd name="T87" fmla="*/ 1158 h 1390"/>
                <a:gd name="T88" fmla="*/ 25 w 5878"/>
                <a:gd name="T89" fmla="*/ 1222 h 1390"/>
                <a:gd name="T90" fmla="*/ 50 w 5878"/>
                <a:gd name="T91" fmla="*/ 1278 h 1390"/>
                <a:gd name="T92" fmla="*/ 81 w 5878"/>
                <a:gd name="T93" fmla="*/ 1326 h 1390"/>
                <a:gd name="T94" fmla="*/ 122 w 5878"/>
                <a:gd name="T95" fmla="*/ 1367 h 1390"/>
                <a:gd name="T96" fmla="*/ 155 w 5878"/>
                <a:gd name="T97" fmla="*/ 1390 h 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78" h="1390">
                  <a:moveTo>
                    <a:pt x="155" y="1390"/>
                  </a:moveTo>
                  <a:lnTo>
                    <a:pt x="157" y="1390"/>
                  </a:lnTo>
                  <a:lnTo>
                    <a:pt x="159" y="1390"/>
                  </a:lnTo>
                  <a:lnTo>
                    <a:pt x="163" y="1390"/>
                  </a:lnTo>
                  <a:lnTo>
                    <a:pt x="163" y="1390"/>
                  </a:lnTo>
                  <a:lnTo>
                    <a:pt x="238" y="1330"/>
                  </a:lnTo>
                  <a:lnTo>
                    <a:pt x="266" y="1322"/>
                  </a:lnTo>
                  <a:lnTo>
                    <a:pt x="295" y="1313"/>
                  </a:lnTo>
                  <a:lnTo>
                    <a:pt x="324" y="1307"/>
                  </a:lnTo>
                  <a:lnTo>
                    <a:pt x="353" y="1297"/>
                  </a:lnTo>
                  <a:lnTo>
                    <a:pt x="380" y="1289"/>
                  </a:lnTo>
                  <a:lnTo>
                    <a:pt x="409" y="1280"/>
                  </a:lnTo>
                  <a:lnTo>
                    <a:pt x="438" y="1272"/>
                  </a:lnTo>
                  <a:lnTo>
                    <a:pt x="467" y="1262"/>
                  </a:lnTo>
                  <a:lnTo>
                    <a:pt x="496" y="1255"/>
                  </a:lnTo>
                  <a:lnTo>
                    <a:pt x="524" y="1245"/>
                  </a:lnTo>
                  <a:lnTo>
                    <a:pt x="553" y="1235"/>
                  </a:lnTo>
                  <a:lnTo>
                    <a:pt x="582" y="1227"/>
                  </a:lnTo>
                  <a:lnTo>
                    <a:pt x="611" y="1218"/>
                  </a:lnTo>
                  <a:lnTo>
                    <a:pt x="638" y="1208"/>
                  </a:lnTo>
                  <a:lnTo>
                    <a:pt x="667" y="1200"/>
                  </a:lnTo>
                  <a:lnTo>
                    <a:pt x="696" y="1191"/>
                  </a:lnTo>
                  <a:lnTo>
                    <a:pt x="723" y="1181"/>
                  </a:lnTo>
                  <a:lnTo>
                    <a:pt x="754" y="1173"/>
                  </a:lnTo>
                  <a:lnTo>
                    <a:pt x="781" y="1163"/>
                  </a:lnTo>
                  <a:lnTo>
                    <a:pt x="811" y="1156"/>
                  </a:lnTo>
                  <a:lnTo>
                    <a:pt x="838" y="1146"/>
                  </a:lnTo>
                  <a:lnTo>
                    <a:pt x="867" y="1138"/>
                  </a:lnTo>
                  <a:lnTo>
                    <a:pt x="896" y="1128"/>
                  </a:lnTo>
                  <a:lnTo>
                    <a:pt x="925" y="1121"/>
                  </a:lnTo>
                  <a:lnTo>
                    <a:pt x="952" y="1113"/>
                  </a:lnTo>
                  <a:lnTo>
                    <a:pt x="981" y="1105"/>
                  </a:lnTo>
                  <a:lnTo>
                    <a:pt x="1010" y="1097"/>
                  </a:lnTo>
                  <a:lnTo>
                    <a:pt x="1039" y="1090"/>
                  </a:lnTo>
                  <a:lnTo>
                    <a:pt x="1068" y="1082"/>
                  </a:lnTo>
                  <a:lnTo>
                    <a:pt x="1096" y="1076"/>
                  </a:lnTo>
                  <a:lnTo>
                    <a:pt x="1125" y="1068"/>
                  </a:lnTo>
                  <a:lnTo>
                    <a:pt x="1154" y="1063"/>
                  </a:lnTo>
                  <a:lnTo>
                    <a:pt x="1299" y="1024"/>
                  </a:lnTo>
                  <a:lnTo>
                    <a:pt x="1445" y="989"/>
                  </a:lnTo>
                  <a:lnTo>
                    <a:pt x="1592" y="952"/>
                  </a:lnTo>
                  <a:lnTo>
                    <a:pt x="1738" y="919"/>
                  </a:lnTo>
                  <a:lnTo>
                    <a:pt x="1885" y="886"/>
                  </a:lnTo>
                  <a:lnTo>
                    <a:pt x="2032" y="853"/>
                  </a:lnTo>
                  <a:lnTo>
                    <a:pt x="2178" y="824"/>
                  </a:lnTo>
                  <a:lnTo>
                    <a:pt x="2325" y="793"/>
                  </a:lnTo>
                  <a:lnTo>
                    <a:pt x="2473" y="766"/>
                  </a:lnTo>
                  <a:lnTo>
                    <a:pt x="2620" y="739"/>
                  </a:lnTo>
                  <a:lnTo>
                    <a:pt x="2767" y="714"/>
                  </a:lnTo>
                  <a:lnTo>
                    <a:pt x="2915" y="688"/>
                  </a:lnTo>
                  <a:lnTo>
                    <a:pt x="3060" y="665"/>
                  </a:lnTo>
                  <a:lnTo>
                    <a:pt x="3208" y="644"/>
                  </a:lnTo>
                  <a:lnTo>
                    <a:pt x="3355" y="622"/>
                  </a:lnTo>
                  <a:lnTo>
                    <a:pt x="3502" y="603"/>
                  </a:lnTo>
                  <a:lnTo>
                    <a:pt x="3650" y="586"/>
                  </a:lnTo>
                  <a:lnTo>
                    <a:pt x="3795" y="568"/>
                  </a:lnTo>
                  <a:lnTo>
                    <a:pt x="3943" y="553"/>
                  </a:lnTo>
                  <a:lnTo>
                    <a:pt x="4090" y="539"/>
                  </a:lnTo>
                  <a:lnTo>
                    <a:pt x="4235" y="525"/>
                  </a:lnTo>
                  <a:lnTo>
                    <a:pt x="4383" y="514"/>
                  </a:lnTo>
                  <a:lnTo>
                    <a:pt x="4528" y="502"/>
                  </a:lnTo>
                  <a:lnTo>
                    <a:pt x="4676" y="494"/>
                  </a:lnTo>
                  <a:lnTo>
                    <a:pt x="4821" y="487"/>
                  </a:lnTo>
                  <a:lnTo>
                    <a:pt x="4967" y="479"/>
                  </a:lnTo>
                  <a:lnTo>
                    <a:pt x="5112" y="475"/>
                  </a:lnTo>
                  <a:lnTo>
                    <a:pt x="5258" y="469"/>
                  </a:lnTo>
                  <a:lnTo>
                    <a:pt x="5401" y="467"/>
                  </a:lnTo>
                  <a:lnTo>
                    <a:pt x="5546" y="465"/>
                  </a:lnTo>
                  <a:lnTo>
                    <a:pt x="5690" y="465"/>
                  </a:lnTo>
                  <a:lnTo>
                    <a:pt x="5835" y="467"/>
                  </a:lnTo>
                  <a:lnTo>
                    <a:pt x="5845" y="462"/>
                  </a:lnTo>
                  <a:lnTo>
                    <a:pt x="5855" y="452"/>
                  </a:lnTo>
                  <a:lnTo>
                    <a:pt x="5861" y="438"/>
                  </a:lnTo>
                  <a:lnTo>
                    <a:pt x="5868" y="423"/>
                  </a:lnTo>
                  <a:lnTo>
                    <a:pt x="5872" y="403"/>
                  </a:lnTo>
                  <a:lnTo>
                    <a:pt x="5876" y="382"/>
                  </a:lnTo>
                  <a:lnTo>
                    <a:pt x="5878" y="363"/>
                  </a:lnTo>
                  <a:lnTo>
                    <a:pt x="5878" y="341"/>
                  </a:lnTo>
                  <a:lnTo>
                    <a:pt x="5872" y="291"/>
                  </a:lnTo>
                  <a:lnTo>
                    <a:pt x="5868" y="242"/>
                  </a:lnTo>
                  <a:lnTo>
                    <a:pt x="5866" y="194"/>
                  </a:lnTo>
                  <a:lnTo>
                    <a:pt x="5865" y="147"/>
                  </a:lnTo>
                  <a:lnTo>
                    <a:pt x="5863" y="126"/>
                  </a:lnTo>
                  <a:lnTo>
                    <a:pt x="5861" y="105"/>
                  </a:lnTo>
                  <a:lnTo>
                    <a:pt x="5857" y="85"/>
                  </a:lnTo>
                  <a:lnTo>
                    <a:pt x="5849" y="66"/>
                  </a:lnTo>
                  <a:lnTo>
                    <a:pt x="5843" y="47"/>
                  </a:lnTo>
                  <a:lnTo>
                    <a:pt x="5835" y="31"/>
                  </a:lnTo>
                  <a:lnTo>
                    <a:pt x="5828" y="14"/>
                  </a:lnTo>
                  <a:lnTo>
                    <a:pt x="5820" y="0"/>
                  </a:lnTo>
                  <a:lnTo>
                    <a:pt x="5638" y="8"/>
                  </a:lnTo>
                  <a:lnTo>
                    <a:pt x="5457" y="16"/>
                  </a:lnTo>
                  <a:lnTo>
                    <a:pt x="5277" y="27"/>
                  </a:lnTo>
                  <a:lnTo>
                    <a:pt x="5095" y="41"/>
                  </a:lnTo>
                  <a:lnTo>
                    <a:pt x="4914" y="54"/>
                  </a:lnTo>
                  <a:lnTo>
                    <a:pt x="4732" y="72"/>
                  </a:lnTo>
                  <a:lnTo>
                    <a:pt x="4552" y="89"/>
                  </a:lnTo>
                  <a:lnTo>
                    <a:pt x="4371" y="111"/>
                  </a:lnTo>
                  <a:lnTo>
                    <a:pt x="4189" y="132"/>
                  </a:lnTo>
                  <a:lnTo>
                    <a:pt x="4009" y="155"/>
                  </a:lnTo>
                  <a:lnTo>
                    <a:pt x="3828" y="180"/>
                  </a:lnTo>
                  <a:lnTo>
                    <a:pt x="3648" y="206"/>
                  </a:lnTo>
                  <a:lnTo>
                    <a:pt x="3466" y="233"/>
                  </a:lnTo>
                  <a:lnTo>
                    <a:pt x="3285" y="262"/>
                  </a:lnTo>
                  <a:lnTo>
                    <a:pt x="3105" y="295"/>
                  </a:lnTo>
                  <a:lnTo>
                    <a:pt x="2923" y="326"/>
                  </a:lnTo>
                  <a:lnTo>
                    <a:pt x="2742" y="361"/>
                  </a:lnTo>
                  <a:lnTo>
                    <a:pt x="2562" y="396"/>
                  </a:lnTo>
                  <a:lnTo>
                    <a:pt x="2381" y="434"/>
                  </a:lnTo>
                  <a:lnTo>
                    <a:pt x="2199" y="473"/>
                  </a:lnTo>
                  <a:lnTo>
                    <a:pt x="2019" y="514"/>
                  </a:lnTo>
                  <a:lnTo>
                    <a:pt x="1838" y="555"/>
                  </a:lnTo>
                  <a:lnTo>
                    <a:pt x="1656" y="599"/>
                  </a:lnTo>
                  <a:lnTo>
                    <a:pt x="1476" y="644"/>
                  </a:lnTo>
                  <a:lnTo>
                    <a:pt x="1293" y="690"/>
                  </a:lnTo>
                  <a:lnTo>
                    <a:pt x="1111" y="737"/>
                  </a:lnTo>
                  <a:lnTo>
                    <a:pt x="931" y="787"/>
                  </a:lnTo>
                  <a:lnTo>
                    <a:pt x="748" y="838"/>
                  </a:lnTo>
                  <a:lnTo>
                    <a:pt x="568" y="890"/>
                  </a:lnTo>
                  <a:lnTo>
                    <a:pt x="386" y="944"/>
                  </a:lnTo>
                  <a:lnTo>
                    <a:pt x="204" y="999"/>
                  </a:lnTo>
                  <a:lnTo>
                    <a:pt x="21" y="1055"/>
                  </a:lnTo>
                  <a:lnTo>
                    <a:pt x="17" y="1059"/>
                  </a:lnTo>
                  <a:lnTo>
                    <a:pt x="13" y="1063"/>
                  </a:lnTo>
                  <a:lnTo>
                    <a:pt x="10" y="1068"/>
                  </a:lnTo>
                  <a:lnTo>
                    <a:pt x="8" y="1076"/>
                  </a:lnTo>
                  <a:lnTo>
                    <a:pt x="6" y="1084"/>
                  </a:lnTo>
                  <a:lnTo>
                    <a:pt x="4" y="1094"/>
                  </a:lnTo>
                  <a:lnTo>
                    <a:pt x="2" y="1103"/>
                  </a:lnTo>
                  <a:lnTo>
                    <a:pt x="0" y="1115"/>
                  </a:lnTo>
                  <a:lnTo>
                    <a:pt x="4" y="1136"/>
                  </a:lnTo>
                  <a:lnTo>
                    <a:pt x="8" y="1158"/>
                  </a:lnTo>
                  <a:lnTo>
                    <a:pt x="13" y="1179"/>
                  </a:lnTo>
                  <a:lnTo>
                    <a:pt x="19" y="1200"/>
                  </a:lnTo>
                  <a:lnTo>
                    <a:pt x="25" y="1222"/>
                  </a:lnTo>
                  <a:lnTo>
                    <a:pt x="33" y="1241"/>
                  </a:lnTo>
                  <a:lnTo>
                    <a:pt x="41" y="1258"/>
                  </a:lnTo>
                  <a:lnTo>
                    <a:pt x="50" y="1278"/>
                  </a:lnTo>
                  <a:lnTo>
                    <a:pt x="60" y="1295"/>
                  </a:lnTo>
                  <a:lnTo>
                    <a:pt x="70" y="1311"/>
                  </a:lnTo>
                  <a:lnTo>
                    <a:pt x="81" y="1326"/>
                  </a:lnTo>
                  <a:lnTo>
                    <a:pt x="95" y="1342"/>
                  </a:lnTo>
                  <a:lnTo>
                    <a:pt x="108" y="1353"/>
                  </a:lnTo>
                  <a:lnTo>
                    <a:pt x="122" y="1367"/>
                  </a:lnTo>
                  <a:lnTo>
                    <a:pt x="138" y="1379"/>
                  </a:lnTo>
                  <a:lnTo>
                    <a:pt x="155" y="1390"/>
                  </a:lnTo>
                  <a:lnTo>
                    <a:pt x="155" y="1390"/>
                  </a:lnTo>
                  <a:lnTo>
                    <a:pt x="155" y="139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ffectLst/>
          </p:spPr>
          <p:txBody>
            <a:bodyPr/>
            <a:lstStyle/>
            <a:p>
              <a:endParaRPr lang="de-DE">
                <a:latin typeface="NeulandFontEuro"/>
                <a:sym typeface="NeulandFontEuro"/>
              </a:endParaRPr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CEE4B1CC-58F1-4BB0-AAC1-C09B40D99C51}"/>
                </a:ext>
              </a:extLst>
            </p:cNvPr>
            <p:cNvGrpSpPr/>
            <p:nvPr/>
          </p:nvGrpSpPr>
          <p:grpSpPr>
            <a:xfrm>
              <a:off x="8635894" y="3254911"/>
              <a:ext cx="386680" cy="422735"/>
              <a:chOff x="739912" y="2595921"/>
              <a:chExt cx="386680" cy="422735"/>
            </a:xfrm>
            <a:solidFill>
              <a:schemeClr val="tx2"/>
            </a:solidFill>
          </p:grpSpPr>
          <p:sp>
            <p:nvSpPr>
              <p:cNvPr id="44" name="Freeform 42">
                <a:extLst>
                  <a:ext uri="{FF2B5EF4-FFF2-40B4-BE49-F238E27FC236}">
                    <a16:creationId xmlns:a16="http://schemas.microsoft.com/office/drawing/2014/main" id="{CBF66F89-F032-4101-BF71-1E8F1F5868E0}"/>
                  </a:ext>
                </a:extLst>
              </p:cNvPr>
              <p:cNvSpPr>
                <a:spLocks/>
              </p:cNvSpPr>
              <p:nvPr/>
            </p:nvSpPr>
            <p:spPr bwMode="gray">
              <a:xfrm rot="18057472">
                <a:off x="567887" y="2767946"/>
                <a:ext cx="422735" cy="78686"/>
              </a:xfrm>
              <a:custGeom>
                <a:avLst/>
                <a:gdLst>
                  <a:gd name="T0" fmla="*/ 0 w 642"/>
                  <a:gd name="T1" fmla="*/ 36 h 51"/>
                  <a:gd name="T2" fmla="*/ 77 w 642"/>
                  <a:gd name="T3" fmla="*/ 51 h 51"/>
                  <a:gd name="T4" fmla="*/ 642 w 642"/>
                  <a:gd name="T5" fmla="*/ 4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42" h="51">
                    <a:moveTo>
                      <a:pt x="0" y="36"/>
                    </a:moveTo>
                    <a:cubicBezTo>
                      <a:pt x="25" y="41"/>
                      <a:pt x="51" y="51"/>
                      <a:pt x="77" y="51"/>
                    </a:cubicBezTo>
                    <a:cubicBezTo>
                      <a:pt x="258" y="51"/>
                      <a:pt x="487" y="0"/>
                      <a:pt x="642" y="43"/>
                    </a:cubicBezTo>
                  </a:path>
                </a:pathLst>
              </a:custGeom>
              <a:grpFill/>
              <a:ln w="76200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de-DE">
                  <a:latin typeface="NeulandFontEuro"/>
                  <a:sym typeface="NeulandFontEuro"/>
                </a:endParaRPr>
              </a:p>
            </p:txBody>
          </p:sp>
          <p:sp>
            <p:nvSpPr>
              <p:cNvPr id="45" name="Freeform 45">
                <a:extLst>
                  <a:ext uri="{FF2B5EF4-FFF2-40B4-BE49-F238E27FC236}">
                    <a16:creationId xmlns:a16="http://schemas.microsoft.com/office/drawing/2014/main" id="{AAB56B5A-65EC-4217-934A-2A9677D46D09}"/>
                  </a:ext>
                </a:extLst>
              </p:cNvPr>
              <p:cNvSpPr>
                <a:spLocks/>
              </p:cNvSpPr>
              <p:nvPr/>
            </p:nvSpPr>
            <p:spPr bwMode="gray">
              <a:xfrm rot="18057472">
                <a:off x="856717" y="2614417"/>
                <a:ext cx="244475" cy="295275"/>
              </a:xfrm>
              <a:custGeom>
                <a:avLst/>
                <a:gdLst>
                  <a:gd name="T0" fmla="*/ 171 w 233"/>
                  <a:gd name="T1" fmla="*/ 0 h 283"/>
                  <a:gd name="T2" fmla="*/ 0 w 233"/>
                  <a:gd name="T3" fmla="*/ 283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233" h="283">
                    <a:moveTo>
                      <a:pt x="171" y="0"/>
                    </a:moveTo>
                    <a:cubicBezTo>
                      <a:pt x="233" y="45"/>
                      <a:pt x="29" y="236"/>
                      <a:pt x="0" y="283"/>
                    </a:cubicBezTo>
                  </a:path>
                </a:pathLst>
              </a:custGeom>
              <a:grpFill/>
              <a:ln w="76200" cap="flat" cmpd="sng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anchor="ctr"/>
              <a:lstStyle/>
              <a:p>
                <a:endParaRPr lang="de-DE">
                  <a:latin typeface="NeulandFontEuro"/>
                  <a:sym typeface="NeulandFontEuro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61405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6316F4A0-7751-4220-835C-C144477637FC}"/>
                  </a:ext>
                </a:extLst>
              </p14:cNvPr>
              <p14:cNvContentPartPr/>
              <p14:nvPr/>
            </p14:nvContentPartPr>
            <p14:xfrm>
              <a:off x="93225" y="2412595"/>
              <a:ext cx="6544440" cy="57672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6316F4A0-7751-4220-835C-C144477637F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7385" y="2349235"/>
                <a:ext cx="6575760" cy="703440"/>
              </a:xfrm>
              <a:prstGeom prst="rect">
                <a:avLst/>
              </a:prstGeom>
            </p:spPr>
          </p:pic>
        </mc:Fallback>
      </mc:AlternateContent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lipcharts fix und fertig gedruckt und geliefe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8DD03-20FC-405A-94DC-BF6A1761BEAA}" type="slidenum">
              <a:rPr lang="de-DE" smtClean="0"/>
              <a:pPr/>
              <a:t>6</a:t>
            </a:fld>
            <a:endParaRPr lang="de-D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547247C-BFB8-40CB-9493-DC70171EF38E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2656" y="3345014"/>
            <a:ext cx="1372375" cy="405523"/>
          </a:xfrm>
          <a:prstGeom prst="rect">
            <a:avLst/>
          </a:prstGeom>
        </p:spPr>
      </p:pic>
      <p:sp>
        <p:nvSpPr>
          <p:cNvPr id="9" name="Freeform 18">
            <a:extLst>
              <a:ext uri="{FF2B5EF4-FFF2-40B4-BE49-F238E27FC236}">
                <a16:creationId xmlns:a16="http://schemas.microsoft.com/office/drawing/2014/main" id="{0063648C-44DD-4BE9-B6D8-E4F23F5EB7C4}"/>
              </a:ext>
            </a:extLst>
          </p:cNvPr>
          <p:cNvSpPr>
            <a:spLocks/>
          </p:cNvSpPr>
          <p:nvPr/>
        </p:nvSpPr>
        <p:spPr bwMode="gray">
          <a:xfrm rot="167541">
            <a:off x="338756" y="1611130"/>
            <a:ext cx="6006565" cy="396821"/>
          </a:xfrm>
          <a:custGeom>
            <a:avLst/>
            <a:gdLst>
              <a:gd name="T0" fmla="*/ 159 w 5878"/>
              <a:gd name="T1" fmla="*/ 1390 h 1390"/>
              <a:gd name="T2" fmla="*/ 238 w 5878"/>
              <a:gd name="T3" fmla="*/ 1330 h 1390"/>
              <a:gd name="T4" fmla="*/ 324 w 5878"/>
              <a:gd name="T5" fmla="*/ 1307 h 1390"/>
              <a:gd name="T6" fmla="*/ 409 w 5878"/>
              <a:gd name="T7" fmla="*/ 1280 h 1390"/>
              <a:gd name="T8" fmla="*/ 496 w 5878"/>
              <a:gd name="T9" fmla="*/ 1255 h 1390"/>
              <a:gd name="T10" fmla="*/ 582 w 5878"/>
              <a:gd name="T11" fmla="*/ 1227 h 1390"/>
              <a:gd name="T12" fmla="*/ 667 w 5878"/>
              <a:gd name="T13" fmla="*/ 1200 h 1390"/>
              <a:gd name="T14" fmla="*/ 754 w 5878"/>
              <a:gd name="T15" fmla="*/ 1173 h 1390"/>
              <a:gd name="T16" fmla="*/ 838 w 5878"/>
              <a:gd name="T17" fmla="*/ 1146 h 1390"/>
              <a:gd name="T18" fmla="*/ 925 w 5878"/>
              <a:gd name="T19" fmla="*/ 1121 h 1390"/>
              <a:gd name="T20" fmla="*/ 1010 w 5878"/>
              <a:gd name="T21" fmla="*/ 1097 h 1390"/>
              <a:gd name="T22" fmla="*/ 1096 w 5878"/>
              <a:gd name="T23" fmla="*/ 1076 h 1390"/>
              <a:gd name="T24" fmla="*/ 1299 w 5878"/>
              <a:gd name="T25" fmla="*/ 1024 h 1390"/>
              <a:gd name="T26" fmla="*/ 1738 w 5878"/>
              <a:gd name="T27" fmla="*/ 919 h 1390"/>
              <a:gd name="T28" fmla="*/ 2178 w 5878"/>
              <a:gd name="T29" fmla="*/ 824 h 1390"/>
              <a:gd name="T30" fmla="*/ 2620 w 5878"/>
              <a:gd name="T31" fmla="*/ 739 h 1390"/>
              <a:gd name="T32" fmla="*/ 3060 w 5878"/>
              <a:gd name="T33" fmla="*/ 665 h 1390"/>
              <a:gd name="T34" fmla="*/ 3502 w 5878"/>
              <a:gd name="T35" fmla="*/ 603 h 1390"/>
              <a:gd name="T36" fmla="*/ 3943 w 5878"/>
              <a:gd name="T37" fmla="*/ 553 h 1390"/>
              <a:gd name="T38" fmla="*/ 4383 w 5878"/>
              <a:gd name="T39" fmla="*/ 514 h 1390"/>
              <a:gd name="T40" fmla="*/ 4821 w 5878"/>
              <a:gd name="T41" fmla="*/ 487 h 1390"/>
              <a:gd name="T42" fmla="*/ 5258 w 5878"/>
              <a:gd name="T43" fmla="*/ 469 h 1390"/>
              <a:gd name="T44" fmla="*/ 5690 w 5878"/>
              <a:gd name="T45" fmla="*/ 465 h 1390"/>
              <a:gd name="T46" fmla="*/ 5855 w 5878"/>
              <a:gd name="T47" fmla="*/ 452 h 1390"/>
              <a:gd name="T48" fmla="*/ 5872 w 5878"/>
              <a:gd name="T49" fmla="*/ 403 h 1390"/>
              <a:gd name="T50" fmla="*/ 5878 w 5878"/>
              <a:gd name="T51" fmla="*/ 341 h 1390"/>
              <a:gd name="T52" fmla="*/ 5866 w 5878"/>
              <a:gd name="T53" fmla="*/ 194 h 1390"/>
              <a:gd name="T54" fmla="*/ 5861 w 5878"/>
              <a:gd name="T55" fmla="*/ 105 h 1390"/>
              <a:gd name="T56" fmla="*/ 5843 w 5878"/>
              <a:gd name="T57" fmla="*/ 47 h 1390"/>
              <a:gd name="T58" fmla="*/ 5820 w 5878"/>
              <a:gd name="T59" fmla="*/ 0 h 1390"/>
              <a:gd name="T60" fmla="*/ 5277 w 5878"/>
              <a:gd name="T61" fmla="*/ 27 h 1390"/>
              <a:gd name="T62" fmla="*/ 4732 w 5878"/>
              <a:gd name="T63" fmla="*/ 72 h 1390"/>
              <a:gd name="T64" fmla="*/ 4189 w 5878"/>
              <a:gd name="T65" fmla="*/ 132 h 1390"/>
              <a:gd name="T66" fmla="*/ 3648 w 5878"/>
              <a:gd name="T67" fmla="*/ 206 h 1390"/>
              <a:gd name="T68" fmla="*/ 3105 w 5878"/>
              <a:gd name="T69" fmla="*/ 295 h 1390"/>
              <a:gd name="T70" fmla="*/ 2562 w 5878"/>
              <a:gd name="T71" fmla="*/ 396 h 1390"/>
              <a:gd name="T72" fmla="*/ 2019 w 5878"/>
              <a:gd name="T73" fmla="*/ 514 h 1390"/>
              <a:gd name="T74" fmla="*/ 1476 w 5878"/>
              <a:gd name="T75" fmla="*/ 644 h 1390"/>
              <a:gd name="T76" fmla="*/ 931 w 5878"/>
              <a:gd name="T77" fmla="*/ 787 h 1390"/>
              <a:gd name="T78" fmla="*/ 386 w 5878"/>
              <a:gd name="T79" fmla="*/ 944 h 1390"/>
              <a:gd name="T80" fmla="*/ 17 w 5878"/>
              <a:gd name="T81" fmla="*/ 1059 h 1390"/>
              <a:gd name="T82" fmla="*/ 8 w 5878"/>
              <a:gd name="T83" fmla="*/ 1076 h 1390"/>
              <a:gd name="T84" fmla="*/ 2 w 5878"/>
              <a:gd name="T85" fmla="*/ 1103 h 1390"/>
              <a:gd name="T86" fmla="*/ 8 w 5878"/>
              <a:gd name="T87" fmla="*/ 1158 h 1390"/>
              <a:gd name="T88" fmla="*/ 25 w 5878"/>
              <a:gd name="T89" fmla="*/ 1222 h 1390"/>
              <a:gd name="T90" fmla="*/ 50 w 5878"/>
              <a:gd name="T91" fmla="*/ 1278 h 1390"/>
              <a:gd name="T92" fmla="*/ 81 w 5878"/>
              <a:gd name="T93" fmla="*/ 1326 h 1390"/>
              <a:gd name="T94" fmla="*/ 122 w 5878"/>
              <a:gd name="T95" fmla="*/ 1367 h 1390"/>
              <a:gd name="T96" fmla="*/ 155 w 5878"/>
              <a:gd name="T97" fmla="*/ 1390 h 1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78" h="1390">
                <a:moveTo>
                  <a:pt x="155" y="1390"/>
                </a:moveTo>
                <a:lnTo>
                  <a:pt x="157" y="1390"/>
                </a:lnTo>
                <a:lnTo>
                  <a:pt x="159" y="1390"/>
                </a:lnTo>
                <a:lnTo>
                  <a:pt x="163" y="1390"/>
                </a:lnTo>
                <a:lnTo>
                  <a:pt x="163" y="1390"/>
                </a:lnTo>
                <a:lnTo>
                  <a:pt x="238" y="1330"/>
                </a:lnTo>
                <a:lnTo>
                  <a:pt x="266" y="1322"/>
                </a:lnTo>
                <a:lnTo>
                  <a:pt x="295" y="1313"/>
                </a:lnTo>
                <a:lnTo>
                  <a:pt x="324" y="1307"/>
                </a:lnTo>
                <a:lnTo>
                  <a:pt x="353" y="1297"/>
                </a:lnTo>
                <a:lnTo>
                  <a:pt x="380" y="1289"/>
                </a:lnTo>
                <a:lnTo>
                  <a:pt x="409" y="1280"/>
                </a:lnTo>
                <a:lnTo>
                  <a:pt x="438" y="1272"/>
                </a:lnTo>
                <a:lnTo>
                  <a:pt x="467" y="1262"/>
                </a:lnTo>
                <a:lnTo>
                  <a:pt x="496" y="1255"/>
                </a:lnTo>
                <a:lnTo>
                  <a:pt x="524" y="1245"/>
                </a:lnTo>
                <a:lnTo>
                  <a:pt x="553" y="1235"/>
                </a:lnTo>
                <a:lnTo>
                  <a:pt x="582" y="1227"/>
                </a:lnTo>
                <a:lnTo>
                  <a:pt x="611" y="1218"/>
                </a:lnTo>
                <a:lnTo>
                  <a:pt x="638" y="1208"/>
                </a:lnTo>
                <a:lnTo>
                  <a:pt x="667" y="1200"/>
                </a:lnTo>
                <a:lnTo>
                  <a:pt x="696" y="1191"/>
                </a:lnTo>
                <a:lnTo>
                  <a:pt x="723" y="1181"/>
                </a:lnTo>
                <a:lnTo>
                  <a:pt x="754" y="1173"/>
                </a:lnTo>
                <a:lnTo>
                  <a:pt x="781" y="1163"/>
                </a:lnTo>
                <a:lnTo>
                  <a:pt x="811" y="1156"/>
                </a:lnTo>
                <a:lnTo>
                  <a:pt x="838" y="1146"/>
                </a:lnTo>
                <a:lnTo>
                  <a:pt x="867" y="1138"/>
                </a:lnTo>
                <a:lnTo>
                  <a:pt x="896" y="1128"/>
                </a:lnTo>
                <a:lnTo>
                  <a:pt x="925" y="1121"/>
                </a:lnTo>
                <a:lnTo>
                  <a:pt x="952" y="1113"/>
                </a:lnTo>
                <a:lnTo>
                  <a:pt x="981" y="1105"/>
                </a:lnTo>
                <a:lnTo>
                  <a:pt x="1010" y="1097"/>
                </a:lnTo>
                <a:lnTo>
                  <a:pt x="1039" y="1090"/>
                </a:lnTo>
                <a:lnTo>
                  <a:pt x="1068" y="1082"/>
                </a:lnTo>
                <a:lnTo>
                  <a:pt x="1096" y="1076"/>
                </a:lnTo>
                <a:lnTo>
                  <a:pt x="1125" y="1068"/>
                </a:lnTo>
                <a:lnTo>
                  <a:pt x="1154" y="1063"/>
                </a:lnTo>
                <a:lnTo>
                  <a:pt x="1299" y="1024"/>
                </a:lnTo>
                <a:lnTo>
                  <a:pt x="1445" y="989"/>
                </a:lnTo>
                <a:lnTo>
                  <a:pt x="1592" y="952"/>
                </a:lnTo>
                <a:lnTo>
                  <a:pt x="1738" y="919"/>
                </a:lnTo>
                <a:lnTo>
                  <a:pt x="1885" y="886"/>
                </a:lnTo>
                <a:lnTo>
                  <a:pt x="2032" y="853"/>
                </a:lnTo>
                <a:lnTo>
                  <a:pt x="2178" y="824"/>
                </a:lnTo>
                <a:lnTo>
                  <a:pt x="2325" y="793"/>
                </a:lnTo>
                <a:lnTo>
                  <a:pt x="2473" y="766"/>
                </a:lnTo>
                <a:lnTo>
                  <a:pt x="2620" y="739"/>
                </a:lnTo>
                <a:lnTo>
                  <a:pt x="2767" y="714"/>
                </a:lnTo>
                <a:lnTo>
                  <a:pt x="2915" y="688"/>
                </a:lnTo>
                <a:lnTo>
                  <a:pt x="3060" y="665"/>
                </a:lnTo>
                <a:lnTo>
                  <a:pt x="3208" y="644"/>
                </a:lnTo>
                <a:lnTo>
                  <a:pt x="3355" y="622"/>
                </a:lnTo>
                <a:lnTo>
                  <a:pt x="3502" y="603"/>
                </a:lnTo>
                <a:lnTo>
                  <a:pt x="3650" y="586"/>
                </a:lnTo>
                <a:lnTo>
                  <a:pt x="3795" y="568"/>
                </a:lnTo>
                <a:lnTo>
                  <a:pt x="3943" y="553"/>
                </a:lnTo>
                <a:lnTo>
                  <a:pt x="4090" y="539"/>
                </a:lnTo>
                <a:lnTo>
                  <a:pt x="4235" y="525"/>
                </a:lnTo>
                <a:lnTo>
                  <a:pt x="4383" y="514"/>
                </a:lnTo>
                <a:lnTo>
                  <a:pt x="4528" y="502"/>
                </a:lnTo>
                <a:lnTo>
                  <a:pt x="4676" y="494"/>
                </a:lnTo>
                <a:lnTo>
                  <a:pt x="4821" y="487"/>
                </a:lnTo>
                <a:lnTo>
                  <a:pt x="4967" y="479"/>
                </a:lnTo>
                <a:lnTo>
                  <a:pt x="5112" y="475"/>
                </a:lnTo>
                <a:lnTo>
                  <a:pt x="5258" y="469"/>
                </a:lnTo>
                <a:lnTo>
                  <a:pt x="5401" y="467"/>
                </a:lnTo>
                <a:lnTo>
                  <a:pt x="5546" y="465"/>
                </a:lnTo>
                <a:lnTo>
                  <a:pt x="5690" y="465"/>
                </a:lnTo>
                <a:lnTo>
                  <a:pt x="5835" y="467"/>
                </a:lnTo>
                <a:lnTo>
                  <a:pt x="5845" y="462"/>
                </a:lnTo>
                <a:lnTo>
                  <a:pt x="5855" y="452"/>
                </a:lnTo>
                <a:lnTo>
                  <a:pt x="5861" y="438"/>
                </a:lnTo>
                <a:lnTo>
                  <a:pt x="5868" y="423"/>
                </a:lnTo>
                <a:lnTo>
                  <a:pt x="5872" y="403"/>
                </a:lnTo>
                <a:lnTo>
                  <a:pt x="5876" y="382"/>
                </a:lnTo>
                <a:lnTo>
                  <a:pt x="5878" y="363"/>
                </a:lnTo>
                <a:lnTo>
                  <a:pt x="5878" y="341"/>
                </a:lnTo>
                <a:lnTo>
                  <a:pt x="5872" y="291"/>
                </a:lnTo>
                <a:lnTo>
                  <a:pt x="5868" y="242"/>
                </a:lnTo>
                <a:lnTo>
                  <a:pt x="5866" y="194"/>
                </a:lnTo>
                <a:lnTo>
                  <a:pt x="5865" y="147"/>
                </a:lnTo>
                <a:lnTo>
                  <a:pt x="5863" y="126"/>
                </a:lnTo>
                <a:lnTo>
                  <a:pt x="5861" y="105"/>
                </a:lnTo>
                <a:lnTo>
                  <a:pt x="5857" y="85"/>
                </a:lnTo>
                <a:lnTo>
                  <a:pt x="5849" y="66"/>
                </a:lnTo>
                <a:lnTo>
                  <a:pt x="5843" y="47"/>
                </a:lnTo>
                <a:lnTo>
                  <a:pt x="5835" y="31"/>
                </a:lnTo>
                <a:lnTo>
                  <a:pt x="5828" y="14"/>
                </a:lnTo>
                <a:lnTo>
                  <a:pt x="5820" y="0"/>
                </a:lnTo>
                <a:lnTo>
                  <a:pt x="5638" y="8"/>
                </a:lnTo>
                <a:lnTo>
                  <a:pt x="5457" y="16"/>
                </a:lnTo>
                <a:lnTo>
                  <a:pt x="5277" y="27"/>
                </a:lnTo>
                <a:lnTo>
                  <a:pt x="5095" y="41"/>
                </a:lnTo>
                <a:lnTo>
                  <a:pt x="4914" y="54"/>
                </a:lnTo>
                <a:lnTo>
                  <a:pt x="4732" y="72"/>
                </a:lnTo>
                <a:lnTo>
                  <a:pt x="4552" y="89"/>
                </a:lnTo>
                <a:lnTo>
                  <a:pt x="4371" y="111"/>
                </a:lnTo>
                <a:lnTo>
                  <a:pt x="4189" y="132"/>
                </a:lnTo>
                <a:lnTo>
                  <a:pt x="4009" y="155"/>
                </a:lnTo>
                <a:lnTo>
                  <a:pt x="3828" y="180"/>
                </a:lnTo>
                <a:lnTo>
                  <a:pt x="3648" y="206"/>
                </a:lnTo>
                <a:lnTo>
                  <a:pt x="3466" y="233"/>
                </a:lnTo>
                <a:lnTo>
                  <a:pt x="3285" y="262"/>
                </a:lnTo>
                <a:lnTo>
                  <a:pt x="3105" y="295"/>
                </a:lnTo>
                <a:lnTo>
                  <a:pt x="2923" y="326"/>
                </a:lnTo>
                <a:lnTo>
                  <a:pt x="2742" y="361"/>
                </a:lnTo>
                <a:lnTo>
                  <a:pt x="2562" y="396"/>
                </a:lnTo>
                <a:lnTo>
                  <a:pt x="2381" y="434"/>
                </a:lnTo>
                <a:lnTo>
                  <a:pt x="2199" y="473"/>
                </a:lnTo>
                <a:lnTo>
                  <a:pt x="2019" y="514"/>
                </a:lnTo>
                <a:lnTo>
                  <a:pt x="1838" y="555"/>
                </a:lnTo>
                <a:lnTo>
                  <a:pt x="1656" y="599"/>
                </a:lnTo>
                <a:lnTo>
                  <a:pt x="1476" y="644"/>
                </a:lnTo>
                <a:lnTo>
                  <a:pt x="1293" y="690"/>
                </a:lnTo>
                <a:lnTo>
                  <a:pt x="1111" y="737"/>
                </a:lnTo>
                <a:lnTo>
                  <a:pt x="931" y="787"/>
                </a:lnTo>
                <a:lnTo>
                  <a:pt x="748" y="838"/>
                </a:lnTo>
                <a:lnTo>
                  <a:pt x="568" y="890"/>
                </a:lnTo>
                <a:lnTo>
                  <a:pt x="386" y="944"/>
                </a:lnTo>
                <a:lnTo>
                  <a:pt x="204" y="999"/>
                </a:lnTo>
                <a:lnTo>
                  <a:pt x="21" y="1055"/>
                </a:lnTo>
                <a:lnTo>
                  <a:pt x="17" y="1059"/>
                </a:lnTo>
                <a:lnTo>
                  <a:pt x="13" y="1063"/>
                </a:lnTo>
                <a:lnTo>
                  <a:pt x="10" y="1068"/>
                </a:lnTo>
                <a:lnTo>
                  <a:pt x="8" y="1076"/>
                </a:lnTo>
                <a:lnTo>
                  <a:pt x="6" y="1084"/>
                </a:lnTo>
                <a:lnTo>
                  <a:pt x="4" y="1094"/>
                </a:lnTo>
                <a:lnTo>
                  <a:pt x="2" y="1103"/>
                </a:lnTo>
                <a:lnTo>
                  <a:pt x="0" y="1115"/>
                </a:lnTo>
                <a:lnTo>
                  <a:pt x="4" y="1136"/>
                </a:lnTo>
                <a:lnTo>
                  <a:pt x="8" y="1158"/>
                </a:lnTo>
                <a:lnTo>
                  <a:pt x="13" y="1179"/>
                </a:lnTo>
                <a:lnTo>
                  <a:pt x="19" y="1200"/>
                </a:lnTo>
                <a:lnTo>
                  <a:pt x="25" y="1222"/>
                </a:lnTo>
                <a:lnTo>
                  <a:pt x="33" y="1241"/>
                </a:lnTo>
                <a:lnTo>
                  <a:pt x="41" y="1258"/>
                </a:lnTo>
                <a:lnTo>
                  <a:pt x="50" y="1278"/>
                </a:lnTo>
                <a:lnTo>
                  <a:pt x="60" y="1295"/>
                </a:lnTo>
                <a:lnTo>
                  <a:pt x="70" y="1311"/>
                </a:lnTo>
                <a:lnTo>
                  <a:pt x="81" y="1326"/>
                </a:lnTo>
                <a:lnTo>
                  <a:pt x="95" y="1342"/>
                </a:lnTo>
                <a:lnTo>
                  <a:pt x="108" y="1353"/>
                </a:lnTo>
                <a:lnTo>
                  <a:pt x="122" y="1367"/>
                </a:lnTo>
                <a:lnTo>
                  <a:pt x="138" y="1379"/>
                </a:lnTo>
                <a:lnTo>
                  <a:pt x="155" y="1390"/>
                </a:lnTo>
                <a:lnTo>
                  <a:pt x="155" y="1390"/>
                </a:lnTo>
                <a:lnTo>
                  <a:pt x="155" y="139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/>
          <a:lstStyle/>
          <a:p>
            <a:endParaRPr lang="de-DE" dirty="0">
              <a:latin typeface="NeulandFontEuro"/>
              <a:sym typeface="NeulandFontEuro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Um fertig gedruckte Flipcharts zu erhalten, schicken Sie Ihre PowerPoint-Datei an:</a:t>
            </a:r>
          </a:p>
          <a:p>
            <a:endParaRPr lang="de-DE" dirty="0"/>
          </a:p>
          <a:p>
            <a:pPr marL="1885950"/>
            <a:r>
              <a:rPr lang="de-DE" dirty="0">
                <a:solidFill>
                  <a:schemeClr val="tx1"/>
                </a:solidFill>
              </a:rPr>
              <a:t>Office Services</a:t>
            </a:r>
          </a:p>
          <a:p>
            <a:pPr marL="1885950"/>
            <a:r>
              <a:rPr lang="de-DE" dirty="0">
                <a:solidFill>
                  <a:schemeClr val="tx1"/>
                </a:solidFill>
              </a:rPr>
              <a:t>Ansprechpartner: Stefan Berger</a:t>
            </a:r>
          </a:p>
          <a:p>
            <a:pPr marL="1885950"/>
            <a:r>
              <a:rPr lang="de-DE" dirty="0">
                <a:solidFill>
                  <a:schemeClr val="tx1"/>
                </a:solidFill>
              </a:rPr>
              <a:t>Telefon: 030-89502328</a:t>
            </a:r>
          </a:p>
          <a:p>
            <a:pPr marL="1885950"/>
            <a:r>
              <a:rPr lang="de-DE" dirty="0">
                <a:solidFill>
                  <a:schemeClr val="tx1"/>
                </a:solidFill>
                <a:hlinkClick r:id="rId6"/>
              </a:rPr>
              <a:t>info@office-services-germany.de</a:t>
            </a:r>
            <a:r>
              <a:rPr lang="de-DE" dirty="0">
                <a:solidFill>
                  <a:schemeClr val="tx1"/>
                </a:solidFill>
              </a:rPr>
              <a:t> </a:t>
            </a:r>
          </a:p>
          <a:p>
            <a:pPr marL="1885950"/>
            <a:r>
              <a:rPr lang="de-DE" dirty="0">
                <a:solidFill>
                  <a:schemeClr val="tx1"/>
                </a:solidFill>
                <a:hlinkClick r:id="rId7"/>
              </a:rPr>
              <a:t>www.office-services-germany.de</a:t>
            </a:r>
            <a:r>
              <a:rPr lang="de-DE" dirty="0">
                <a:solidFill>
                  <a:schemeClr val="tx1"/>
                </a:solidFill>
              </a:rPr>
              <a:t> </a:t>
            </a:r>
          </a:p>
          <a:p>
            <a:br>
              <a:rPr lang="de-DE" dirty="0"/>
            </a:br>
            <a:r>
              <a:rPr lang="de-DE" dirty="0"/>
              <a:t>Sie erhalten die gewünschte Anzahl an Flipchart-Sets </a:t>
            </a:r>
            <a:br>
              <a:rPr lang="de-DE" dirty="0"/>
            </a:br>
            <a:r>
              <a:rPr lang="de-DE" dirty="0"/>
              <a:t>fix und fertig mit Universallochung zur Befestigung.</a:t>
            </a:r>
          </a:p>
          <a:p>
            <a:r>
              <a:rPr lang="de-DE" dirty="0"/>
              <a:t>Wir versenden auch direkt an Ihren Trainingsort.</a:t>
            </a:r>
          </a:p>
        </p:txBody>
      </p:sp>
    </p:spTree>
    <p:extLst>
      <p:ext uri="{BB962C8B-B14F-4D97-AF65-F5344CB8AC3E}">
        <p14:creationId xmlns:p14="http://schemas.microsoft.com/office/powerpoint/2010/main" val="3959706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ANGLE" val="false"/>
  <p:tag name="THINKCELLSHAPEDONOTDELETE" val="p_92yU1EAakmlDEglUYl1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ANGLE" val="false"/>
  <p:tag name="THINKCELLSHAPEDONOTDELETE" val="pOriHR4PGhkqnkjEHJVMp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H7o.KpESZX8WYTZky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ANGLE" val="false"/>
  <p:tag name="THINKCELLSHAPEDONOTDELETE" val="pm94K2HD_2keS5fQZdQE9_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6xbtjbU0ukzj91wSgZ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ANGLE" val="false"/>
  <p:tag name="THINKCELLSHAPEDONOTDELETE" val="p2f7NZtX5iEOFNFZpUGsD6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ANGLE" val="false"/>
  <p:tag name="THINKCELLSHAPEDONOTDELETE" val="p4EeTp6UmmUC6mGIyzDTZ.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ANGLE" val="false"/>
  <p:tag name="THINKCELLSHAPEDONOTDELETE" val="puoJ4ElsQfEesrfTa7nK2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ANGLE" val="false"/>
  <p:tag name="THINKCELLSHAPEDONOTDELETE" val="papwFNviebki3IYvXm33d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ANGLE" val="false"/>
  <p:tag name="THINKCELLSHAPEDONOTDELETE" val="pgWGkzwvQjkGuJ8R7BNyE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pARXFpQUul2kGwjP0r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JSLGlDd0Op1OPdKIIM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ANGLE" val="false"/>
  <p:tag name="THINKCELLSHAPEDONOTDELETE" val="p_92yU1EAakmlDEglUYl1E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ANGLE" val="false"/>
  <p:tag name="THINKCELLSHAPEDONOTDELETE" val="pOriHR4PGhkqnkjEHJVMp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H7o.KpESZX8WYTZky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ANGLE" val="false"/>
  <p:tag name="THINKCELLSHAPEDONOTDELETE" val="pm94K2HD_2keS5fQZdQE9_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6xbtjbU0ukzj91wSgZH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LAMpHIuUWkKrR7gveN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_PROPERTIESTAG" val="&lt;?xml version=&quot;1.0&quot; encoding=&quot;utf-8&quot;?&gt;&lt;Properties&gt;&lt;Version&gt;0.0.16&lt;/Version&gt;&lt;ToolsActivated&gt;True&lt;/ToolsActivated&gt;&lt;PropertiesVisible&gt;True&lt;/PropertiesVisible&gt;&lt;GUI&gt;&lt;Language&gt;&lt;Ribbon&gt;German&lt;/Ribbon&gt;&lt;TooTips&gt;English&lt;/TooTips&gt;&lt;/Language&gt;&lt;/GUI&gt;&lt;PowerPoint&gt;&lt;Footer&gt;&lt;FileNameFooter&gt;True&lt;/FileNameFooter&gt;&lt;UpdateCopyright&gt;False&lt;/UpdateCopyright&gt;&lt;UseDateTimeFieldForCopyright&gt;False&lt;/UseDateTimeFieldForCopyright&gt;&lt;UseFooterFieldSaveFileName&gt;True&lt;/UseFooterFieldSaveFileName&gt;&lt;/Footer&gt;&lt;Print&gt;&lt;CurrentSlide&gt;True&lt;/CurrentSlide&gt;&lt;ScaleFitPaper&gt;True&lt;/ScaleFitPaper&gt;&lt;HiddenSlides&gt;False&lt;/HiddenSlides&gt;&lt;/Print&gt;&lt;SlideShowHideFooter&gt;True&lt;/SlideShowHideFooter&gt;&lt;ProtectFooter&gt;True&lt;/ProtectFooter&gt;&lt;/PowerPoint&gt;&lt;Presentation&gt;&lt;Agenda&gt;&lt;Font&gt;&lt;Bullets&gt;False&lt;/Bullets&gt;&lt;/Font&gt;&lt;HighlightFont&gt;&lt;Bold&gt;False&lt;/Bold&gt;&lt;/HighlightFont&gt;&lt;Colors&gt;&lt;Background themeColor=&quot;False&quot;&gt;No Fill&lt;/Background&gt;&lt;Highlight themeColor=&quot;True&quot;&gt;Accent 6&lt;/Highlight&gt;&lt;TextNormal themeColor=&quot;True&quot;&gt;Accent 1&lt;/TextNormal&gt;&lt;TextHighlight themeColor=&quot;True&quot;&gt;Text 1&lt;/TextHighlight&gt;&lt;/Colors&gt;&lt;Numbering&gt;False&lt;/Numbering&gt;&lt;/Agenda&gt;&lt;Arrows&gt;&lt;Colors&gt;&lt;Fill themeColor=&quot;True&quot;&gt;Accent 5&lt;/Fill&gt;&lt;/Colors&gt;&lt;Border drawBorder=&quot;False&quot; /&gt;&lt;/Arrows&gt;&lt;Emphasize&gt;&lt;Colors&gt;&lt;Background themeColor=&quot;True&quot;&gt;Accent 3&lt;/Background&gt;&lt;Line themeColor=&quot;True&quot;&gt;Background 2&lt;/Line&gt;&lt;Font themeColor=&quot;True&quot;&gt;Accent 1&lt;/Font&gt;&lt;EmphasizedFont themeColor=&quot;True&quot;&gt;Accent 6&lt;/EmphasizedFont&gt;&lt;/Colors&gt;&lt;Font bold=&quot;False&quot; italic=&quot;False&quot; /&gt;&lt;EmphasizedFont bold=&quot;False&quot; italic=&quot;False&quot; /&gt;&lt;/Emphasize&gt;&lt;LogoTitle top=&quot;111.2422&quot; left=&quot;575.4863&quot; width=&quot;130.3789&quot; height=&quot;51.02929&quot; alignment=&quot;right&quot; /&gt;&lt;LogoSlides top=&quot;523.1593&quot; left=&quot;21.03795&quot; width=&quot;90.79795&quot; height=&quot;13.70094&quot; alignment=&quot;center&quot; /&gt;&lt;Shapes&gt;&lt;Shape name=&quot;OT_FootnoteSource&quot;&gt;&lt;Top&gt;515.0182&lt;/Top&gt;&lt;Left&gt;8.464882&lt;/Left&gt;&lt;Width&gt;356.1899&lt;/Width&gt;&lt;Font name=&quot;Arial&quot; size=&quot;8&quot; /&gt;&lt;Tabs&gt;&lt;Tab Alignment=&quot;right&quot; Position=&quot;35.12504&quot; /&gt;&lt;Tab Alignment=&quot;left&quot; Position=&quot;42.5&quot; /&gt;&lt;/Tabs&gt;&lt;Indentation&gt;&lt;BeforeText&gt;0&lt;/BeforeText&gt;&lt;Hanging&gt;42.5&lt;/Hanging&gt;&lt;/Indentation&gt;&lt;Paragraphs&gt;&lt;SpaceBefore&gt;0&lt;/SpaceBefore&gt;&lt;SpaceAfter&gt;0&lt;/SpaceAfter&gt;&lt;/Paragraphs&gt;&lt;Paragraphs&gt;&lt;SpaceBefore&gt;0&lt;/SpaceBefore&gt;&lt;SpaceAfter&gt;0&lt;/SpaceAfter&gt;&lt;/Paragraphs&gt;&lt;Paragraphs&gt;&lt;SpaceBefore&gt;0&lt;/SpaceBefore&gt;&lt;SpaceAfter&gt;0&lt;/SpaceAfter&gt;&lt;/Paragraphs&gt;&lt;/Shape&gt;&lt;/Shapes&gt;&lt;Sticker&gt;&lt;Right&gt;27.93513&lt;/Right&gt;&lt;Top&gt;72.42912&lt;/Top&gt;&lt;Lines defaultColor=&quot;False&quot; weight=&quot;0.75&quot; /&gt;&lt;TextBox&gt;&lt;Font name=&quot;Tahoma&quot; size=&quot;11&quot; uppercase=&quot;True&quot; bold=&quot;False&quot; italic=&quot;False&quot; /&gt;&lt;Margins topBottom=&quot;3.1185&quot; leftRight=&quot;1.5&quot; /&gt;&lt;/TextBox&gt;&lt;/Sticker&gt;&lt;Table&gt;&lt;Colors&gt;&lt;HeadFill themeColor=&quot;False&quot;&gt;-10046465&lt;/HeadFill&gt;&lt;HeadInnerBorders themeColor=&quot;True&quot;&gt;Background 2&lt;/HeadInnerBorders&gt;&lt;HeadFont themeColor=&quot;True&quot;&gt;Text 1&lt;/HeadFont&gt;&lt;NormalFill themeColor=&quot;True&quot;&gt;Background 1&lt;/NormalFill&gt;&lt;NormalFont themeColor=&quot;True&quot;&gt;Text 1&lt;/NormalFont&gt;&lt;NormalBorder themeColor=&quot;True&quot;&gt;Background 2&lt;/NormalBorder&gt;&lt;/Colors&gt;&lt;HeadFont bold=&quot;True&quot; /&gt;&lt;/Table&gt;&lt;Zoom&gt;&lt;Transparency&gt;50&lt;/Transparency&gt;&lt;Colors&gt;&lt;Background themeColor=&quot;True&quot;&gt;Accent 4&lt;/Background&gt;&lt;Line themeColor=&quot;False&quot;&gt;No Fill&lt;/Line&gt;&lt;/Colors&gt;&lt;Line weight=&quot;0.25&quot; dashStyle=&quot;msoLineDash&quot; /&gt;&lt;/Zoom&gt;&lt;/Presentation&gt;&lt;PropertiesVisible&gt;true&lt;/PropertiesVisible&gt;&lt;/Properties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LAMpHIuUWkKrR7gveN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UTOANGLE" val="false"/>
  <p:tag name="THINKCELLSHAPEDONOTDELETE" val="pgWGkzwvQjkGuJ8R7BNyE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pARXFpQUul2kGwjP0r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JSLGlDd0Op1OPdKIIMRQ"/>
</p:tagLst>
</file>

<file path=ppt/theme/theme1.xml><?xml version="1.0" encoding="utf-8"?>
<a:theme xmlns:a="http://schemas.openxmlformats.org/drawingml/2006/main" name="Flipchart-Template">
  <a:themeElements>
    <a:clrScheme name="Flipchart">
      <a:dk1>
        <a:sysClr val="windowText" lastClr="000000"/>
      </a:dk1>
      <a:lt1>
        <a:sysClr val="window" lastClr="FFFFFF"/>
      </a:lt1>
      <a:dk2>
        <a:srgbClr val="039650"/>
      </a:dk2>
      <a:lt2>
        <a:srgbClr val="B7B9BC"/>
      </a:lt2>
      <a:accent1>
        <a:srgbClr val="0C0E69"/>
      </a:accent1>
      <a:accent2>
        <a:srgbClr val="954F4A"/>
      </a:accent2>
      <a:accent3>
        <a:srgbClr val="E86709"/>
      </a:accent3>
      <a:accent4>
        <a:srgbClr val="DB83B0"/>
      </a:accent4>
      <a:accent5>
        <a:srgbClr val="FF0F0C"/>
      </a:accent5>
      <a:accent6>
        <a:srgbClr val="FCCE01"/>
      </a:accent6>
      <a:hlink>
        <a:srgbClr val="0C0E69"/>
      </a:hlink>
      <a:folHlink>
        <a:srgbClr val="CE4D4A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2400" dirty="0" smtClean="0">
            <a:latin typeface="NeulandFontEuro" panose="000004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-Flipchart-Vorlage.potx" id="{CD809989-85EE-49D6-BCD4-BD6584114B44}" vid="{52D18D9C-BEAB-463E-913D-DB0E7A79B3F4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-Flipchart-Vorlage</Template>
  <TotalTime>0</TotalTime>
  <Words>132</Words>
  <Application>Microsoft Office PowerPoint</Application>
  <PresentationFormat>A4 Paper (210x297 mm)</PresentationFormat>
  <Paragraphs>52</Paragraphs>
  <Slides>6</Slides>
  <Notes>6</Notes>
  <HiddenSlides>2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NeulandFontEuro</vt:lpstr>
      <vt:lpstr>Arial</vt:lpstr>
      <vt:lpstr>Calibri</vt:lpstr>
      <vt:lpstr>Flipchart-Template</vt:lpstr>
      <vt:lpstr>think-cell Slide</vt:lpstr>
      <vt:lpstr>Flipchart-Vorlage mit oder ohne Hintergrundraster</vt:lpstr>
      <vt:lpstr>PowerPoint Presentation</vt:lpstr>
      <vt:lpstr>Das Hintergrundraster kann leicht ein- und ausgeblendet werden</vt:lpstr>
      <vt:lpstr>Texte lassen sich einfach mit Aufzählungsebenen versehen</vt:lpstr>
      <vt:lpstr>Die Flipchart-Vorlage verwendet die Farben von Flipchart-Stiften</vt:lpstr>
      <vt:lpstr>Flipcharts fix und fertig gedruckt und geliefe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lipchart-Vorlage mit oder ohne Hintergrundraster</dc:title>
  <dc:creator>Office Services</dc:creator>
  <cp:lastModifiedBy>Stefan Berger</cp:lastModifiedBy>
  <cp:revision>8</cp:revision>
  <cp:lastPrinted>2017-10-04T17:26:18Z</cp:lastPrinted>
  <dcterms:created xsi:type="dcterms:W3CDTF">2017-10-17T09:17:29Z</dcterms:created>
  <dcterms:modified xsi:type="dcterms:W3CDTF">2019-05-29T05:26:43Z</dcterms:modified>
  <cp:contentStatus>v2.0</cp:contentStatus>
</cp:coreProperties>
</file>